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fonts/font1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handoutMasters/handoutMaster1.xml" ContentType="application/vnd.openxmlformats-officedocument.presentationml.handoutMaster+xml"/>
  <Override PartName="/ppt/media/image10.svg" ContentType="image/svg+xml"/>
  <Override PartName="/ppt/media/image12.svg" ContentType="image/svg+xml"/>
  <Override PartName="/ppt/media/image14.svg" ContentType="image/svg+xml"/>
  <Override PartName="/ppt/media/image16.svg" ContentType="image/svg+xml"/>
  <Override PartName="/ppt/media/image18.svg" ContentType="image/svg+xml"/>
  <Override PartName="/ppt/media/image20.svg" ContentType="image/svg+xml"/>
  <Override PartName="/ppt/media/image22.svg" ContentType="image/svg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handoutMasterIdLst>
    <p:handoutMasterId r:id="rId25"/>
  </p:handoutMasterIdLst>
  <p:sldIdLst>
    <p:sldId id="256" r:id="rId3"/>
    <p:sldId id="413" r:id="rId4"/>
    <p:sldId id="402" r:id="rId5"/>
    <p:sldId id="434" r:id="rId6"/>
    <p:sldId id="435" r:id="rId7"/>
    <p:sldId id="436" r:id="rId8"/>
    <p:sldId id="437" r:id="rId9"/>
    <p:sldId id="438" r:id="rId10"/>
    <p:sldId id="414" r:id="rId11"/>
    <p:sldId id="439" r:id="rId12"/>
    <p:sldId id="416" r:id="rId13"/>
    <p:sldId id="446" r:id="rId14"/>
    <p:sldId id="465" r:id="rId15"/>
    <p:sldId id="473" r:id="rId16"/>
    <p:sldId id="466" r:id="rId17"/>
    <p:sldId id="467" r:id="rId18"/>
    <p:sldId id="481" r:id="rId19"/>
    <p:sldId id="468" r:id="rId20"/>
    <p:sldId id="469" r:id="rId21"/>
    <p:sldId id="470" r:id="rId22"/>
    <p:sldId id="471" r:id="rId23"/>
    <p:sldId id="472" r:id="rId24"/>
  </p:sldIdLst>
  <p:sldSz cx="9144000" cy="5143500" type="screen16x9"/>
  <p:notesSz cx="6858000" cy="9144000"/>
  <p:embeddedFontLst>
    <p:embeddedFont>
      <p:font typeface="汉仪魏碑简" panose="02010600000101010101" charset="-128"/>
      <p:regular r:id="rId29"/>
    </p:embeddedFont>
    <p:embeddedFont>
      <p:font typeface="微软雅黑" panose="020B0503020204020204" charset="-122"/>
      <p:regular r:id="rId30"/>
    </p:embeddedFont>
    <p:embeddedFont>
      <p:font typeface="楷体" panose="02010609060101010101" charset="-122"/>
      <p:regular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微软雅黑 Light" panose="020B0502040204020203" charset="-122"/>
      <p:regular r:id="rId34"/>
    </p:embeddedFont>
    <p:embeddedFont>
      <p:font typeface="Calibri Light" panose="020F0302020204030204"/>
      <p:regular r:id="rId35"/>
      <p:italic r:id="rId36"/>
    </p:embeddedFont>
    <p:embeddedFont>
      <p:font typeface="等线" panose="02010600030101010101" charset="-122"/>
      <p:regular r:id="rId37"/>
    </p:embeddedFont>
  </p:embeddedFontLst>
  <p:custDataLst>
    <p:tags r:id="rId3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</p:showPr>
  <p:clrMru>
    <a:srgbClr val="51688A"/>
    <a:srgbClr val="E1BCB1"/>
    <a:srgbClr val="F2E3DE"/>
    <a:srgbClr val="98C0E4"/>
    <a:srgbClr val="FFFFFF"/>
    <a:srgbClr val="88B8CE"/>
    <a:srgbClr val="C9DEF1"/>
    <a:srgbClr val="E6E9EE"/>
    <a:srgbClr val="88B8CC"/>
    <a:srgbClr val="8B91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660B408-B3CF-4A94-85FC-2B1E0A45F4A2}" styleName="深色样式 2 - 强调 1/强调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8B58294-7C98-454F-8B8E-5373267BDF32}" styleName="{385b2ea8-0d66-414d-9127-dde3b277f022}">
    <a:wholeTbl>
      <a:tcTxStyle>
        <a:fontRef idx="none">
          <a:prstClr val="black"/>
        </a:fontRef>
      </a:tcTxStyle>
      <a:tcStyle>
        <a:tcBdr>
          <a:top>
            <a:ln w="76200" cmpd="sng">
              <a:solidFill>
                <a:srgbClr val="53CED5"/>
              </a:solidFill>
            </a:ln>
          </a:top>
          <a:bottom>
            <a:ln w="76200" cmpd="sng">
              <a:solidFill>
                <a:srgbClr val="53CED5"/>
              </a:solidFill>
            </a:ln>
          </a:bottom>
        </a:tcBdr>
        <a:fill>
          <a:solidFill>
            <a:srgbClr val="FFFFFF"/>
          </a:solidFill>
        </a:fill>
      </a:tcStyle>
    </a:wholeTbl>
    <a:band1H>
      <a:tcTxStyle>
        <a:fontRef idx="none">
          <a:prstClr val="black"/>
        </a:fontRef>
      </a:tcTxStyle>
      <a:tcStyle>
        <a:tcBdr/>
        <a:fill>
          <a:solidFill>
            <a:srgbClr val="DEF6F7"/>
          </a:solidFill>
        </a:fill>
      </a:tcStyle>
    </a:band1H>
    <a:firstRow>
      <a:tcTxStyle>
        <a:fontRef idx="none">
          <a:prstClr val="black"/>
        </a:fontRef>
      </a:tcTxStyle>
      <a:tcStyle>
        <a:tcBdr/>
        <a:fill>
          <a:solidFill>
            <a:srgbClr val="53CED5"/>
          </a:solidFill>
        </a:fill>
      </a:tcStyle>
    </a:firstRow>
  </a:tblStyle>
  <a:tblStyle styleId="{E364DEFD-1D1D-45AC-B6A7-0296249E4342}" styleName="{96a5a69e-e2c1-4257-9d08-7c964cdb7bb0}">
    <a:wholeTbl>
      <a:tcTxStyle>
        <a:fontRef idx="none">
          <a:prstClr val="black"/>
        </a:fontRef>
      </a:tcTxStyle>
      <a:tcStyle>
        <a:tcBdr/>
        <a:fill>
          <a:solidFill>
            <a:srgbClr val="C6BCAB"/>
          </a:solidFill>
        </a:fill>
      </a:tcStyle>
    </a:wholeTbl>
    <a:band1H>
      <a:tcTxStyle>
        <a:fontRef idx="none">
          <a:prstClr val="black"/>
        </a:fontRef>
      </a:tcTxStyle>
      <a:tcStyle>
        <a:tcBdr>
          <a:left>
            <a:ln w="9525" cmpd="sng">
              <a:solidFill>
                <a:srgbClr val="EAEAEA"/>
              </a:solidFill>
            </a:ln>
          </a:left>
          <a:right>
            <a:ln w="9525" cmpd="sng">
              <a:solidFill>
                <a:srgbClr val="EAEAEA"/>
              </a:solidFill>
            </a:ln>
          </a:right>
          <a:top>
            <a:ln w="9525" cmpd="sng">
              <a:solidFill>
                <a:srgbClr val="EAEAEA"/>
              </a:solidFill>
            </a:ln>
          </a:top>
          <a:bottom>
            <a:ln w="9525" cmpd="sng">
              <a:solidFill>
                <a:srgbClr val="EAEAEA"/>
              </a:solidFill>
            </a:ln>
          </a:bottom>
          <a:insideH>
            <a:ln w="9525" cmpd="sng">
              <a:solidFill>
                <a:srgbClr val="EAEAEA"/>
              </a:solidFill>
            </a:ln>
          </a:insideH>
          <a:insideV>
            <a:ln w="9525" cmpd="sng">
              <a:solidFill>
                <a:srgbClr val="EAEAEA"/>
              </a:solidFill>
            </a:ln>
          </a:insideV>
        </a:tcBdr>
        <a:fill>
          <a:solidFill>
            <a:srgbClr val="D0E0F4"/>
          </a:solidFill>
        </a:fill>
      </a:tcStyle>
    </a:band1H>
    <a:band2H>
      <a:tcTxStyle>
        <a:fontRef idx="none">
          <a:prstClr val="black"/>
        </a:fontRef>
      </a:tcTxStyle>
      <a:tcStyle>
        <a:tcBdr>
          <a:left>
            <a:ln w="6350" cmpd="sng">
              <a:solidFill>
                <a:srgbClr val="EAEAEA"/>
              </a:solidFill>
            </a:ln>
          </a:left>
          <a:right>
            <a:ln w="6350" cmpd="sng">
              <a:solidFill>
                <a:srgbClr val="EAEAEA"/>
              </a:solidFill>
            </a:ln>
          </a:right>
          <a:top>
            <a:ln w="6350" cmpd="sng">
              <a:solidFill>
                <a:srgbClr val="EAEAEA"/>
              </a:solidFill>
            </a:ln>
          </a:top>
          <a:bottom>
            <a:ln w="6350" cmpd="sng">
              <a:solidFill>
                <a:srgbClr val="EAEAEA"/>
              </a:solidFill>
            </a:ln>
          </a:bottom>
          <a:insideH>
            <a:ln w="6350" cmpd="sng">
              <a:solidFill>
                <a:srgbClr val="EAEAEA"/>
              </a:solidFill>
            </a:ln>
          </a:insideH>
          <a:insideV>
            <a:ln w="6350" cmpd="sng">
              <a:solidFill>
                <a:srgbClr val="EAEAEA"/>
              </a:solidFill>
            </a:ln>
          </a:insideV>
        </a:tcBdr>
        <a:fill>
          <a:solidFill>
            <a:srgbClr val="D0E0F4"/>
          </a:solidFill>
        </a:fill>
      </a:tcStyle>
    </a:band2H>
    <a:lastRow>
      <a:tcTxStyle>
        <a:fontRef idx="none">
          <a:prstClr val="black"/>
        </a:fontRef>
      </a:tcTxStyle>
      <a:tcStyle>
        <a:tcBdr>
          <a:top>
            <a:ln w="28575" cmpd="sng">
              <a:solidFill>
                <a:srgbClr val="4684D3"/>
              </a:solidFill>
            </a:ln>
          </a:top>
        </a:tcBdr>
        <a:fill>
          <a:solidFill>
            <a:srgbClr val="DCDCDC"/>
          </a:solidFill>
        </a:fill>
      </a:tcStyle>
    </a:lastRow>
    <a:firstRow>
      <a:tcTxStyle>
        <a:fontRef idx="none">
          <a:prstClr val="black"/>
        </a:fontRef>
      </a:tcTxStyle>
      <a:tcStyle>
        <a:tcBdr>
          <a:bottom>
            <a:ln w="28575" cmpd="sng">
              <a:solidFill>
                <a:srgbClr val="4684D3"/>
              </a:solidFill>
            </a:ln>
          </a:bottom>
        </a:tcBdr>
        <a:fill>
          <a:solidFill>
            <a:srgbClr val="FEFEF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16" autoAdjust="0"/>
    <p:restoredTop sz="94660"/>
  </p:normalViewPr>
  <p:slideViewPr>
    <p:cSldViewPr snapToGrid="0" showGuides="1">
      <p:cViewPr>
        <p:scale>
          <a:sx n="88" d="100"/>
          <a:sy n="88" d="100"/>
        </p:scale>
        <p:origin x="1450" y="499"/>
      </p:cViewPr>
      <p:guideLst>
        <p:guide orient="horz" pos="2474"/>
        <p:guide orient="horz" pos="2962"/>
        <p:guide pos="287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3154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8" Type="http://schemas.openxmlformats.org/officeDocument/2006/relationships/tags" Target="tags/tag88.xml"/><Relationship Id="rId37" Type="http://schemas.openxmlformats.org/officeDocument/2006/relationships/font" Target="fonts/font9.fntdata"/><Relationship Id="rId36" Type="http://schemas.openxmlformats.org/officeDocument/2006/relationships/font" Target="fonts/font8.fntdata"/><Relationship Id="rId35" Type="http://schemas.openxmlformats.org/officeDocument/2006/relationships/font" Target="fonts/font7.fntdata"/><Relationship Id="rId34" Type="http://schemas.openxmlformats.org/officeDocument/2006/relationships/font" Target="fonts/font6.fntdata"/><Relationship Id="rId33" Type="http://schemas.openxmlformats.org/officeDocument/2006/relationships/font" Target="fonts/font5.fntdata"/><Relationship Id="rId32" Type="http://schemas.openxmlformats.org/officeDocument/2006/relationships/font" Target="fonts/font4.fntdata"/><Relationship Id="rId31" Type="http://schemas.openxmlformats.org/officeDocument/2006/relationships/font" Target="fonts/font3.fntdata"/><Relationship Id="rId30" Type="http://schemas.openxmlformats.org/officeDocument/2006/relationships/font" Target="fonts/font2.fntdata"/><Relationship Id="rId3" Type="http://schemas.openxmlformats.org/officeDocument/2006/relationships/slide" Target="slides/slide1.xml"/><Relationship Id="rId29" Type="http://schemas.openxmlformats.org/officeDocument/2006/relationships/font" Target="fonts/font1.fntdata"/><Relationship Id="rId28" Type="http://schemas.openxmlformats.org/officeDocument/2006/relationships/tableStyles" Target="tableStyles.xml"/><Relationship Id="rId27" Type="http://schemas.openxmlformats.org/officeDocument/2006/relationships/viewProps" Target="viewProps.xml"/><Relationship Id="rId26" Type="http://schemas.openxmlformats.org/officeDocument/2006/relationships/presProps" Target="presProps.xml"/><Relationship Id="rId25" Type="http://schemas.openxmlformats.org/officeDocument/2006/relationships/handoutMaster" Target="handoutMasters/handoutMaster1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16F5E0-A64E-4A18-ABCA-1EB0123A95D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089C06-E499-498D-A197-B98A7AE14CC5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17"/>
          <p:cNvSpPr/>
          <p:nvPr userDrawn="1"/>
        </p:nvSpPr>
        <p:spPr bwMode="auto">
          <a:xfrm>
            <a:off x="-114300" y="4025462"/>
            <a:ext cx="3343522" cy="1121213"/>
          </a:xfrm>
          <a:custGeom>
            <a:avLst/>
            <a:gdLst>
              <a:gd name="T0" fmla="*/ 677 w 1046"/>
              <a:gd name="T1" fmla="*/ 0 h 349"/>
              <a:gd name="T2" fmla="*/ 194 w 1046"/>
              <a:gd name="T3" fmla="*/ 168 h 349"/>
              <a:gd name="T4" fmla="*/ 46 w 1046"/>
              <a:gd name="T5" fmla="*/ 349 h 349"/>
              <a:gd name="T6" fmla="*/ 967 w 1046"/>
              <a:gd name="T7" fmla="*/ 349 h 349"/>
              <a:gd name="T8" fmla="*/ 751 w 1046"/>
              <a:gd name="T9" fmla="*/ 6 h 349"/>
              <a:gd name="T10" fmla="*/ 677 w 1046"/>
              <a:gd name="T11" fmla="*/ 0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6" h="349">
                <a:moveTo>
                  <a:pt x="677" y="0"/>
                </a:moveTo>
                <a:cubicBezTo>
                  <a:pt x="478" y="0"/>
                  <a:pt x="413" y="151"/>
                  <a:pt x="194" y="168"/>
                </a:cubicBezTo>
                <a:cubicBezTo>
                  <a:pt x="0" y="184"/>
                  <a:pt x="46" y="349"/>
                  <a:pt x="46" y="349"/>
                </a:cubicBezTo>
                <a:cubicBezTo>
                  <a:pt x="967" y="349"/>
                  <a:pt x="967" y="349"/>
                  <a:pt x="967" y="349"/>
                </a:cubicBezTo>
                <a:cubicBezTo>
                  <a:pt x="967" y="349"/>
                  <a:pt x="1046" y="55"/>
                  <a:pt x="751" y="6"/>
                </a:cubicBezTo>
                <a:cubicBezTo>
                  <a:pt x="724" y="2"/>
                  <a:pt x="700" y="0"/>
                  <a:pt x="677" y="0"/>
                </a:cubicBezTo>
              </a:path>
            </a:pathLst>
          </a:custGeom>
          <a:solidFill>
            <a:srgbClr val="98C0E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15" name="组合 14"/>
          <p:cNvGrpSpPr/>
          <p:nvPr userDrawn="1"/>
        </p:nvGrpSpPr>
        <p:grpSpPr>
          <a:xfrm>
            <a:off x="6085490" y="0"/>
            <a:ext cx="3079151" cy="2794415"/>
            <a:chOff x="6411309" y="0"/>
            <a:chExt cx="2753332" cy="2498725"/>
          </a:xfrm>
        </p:grpSpPr>
        <p:sp>
          <p:nvSpPr>
            <p:cNvPr id="14" name="Freeform 9"/>
            <p:cNvSpPr/>
            <p:nvPr userDrawn="1"/>
          </p:nvSpPr>
          <p:spPr bwMode="auto">
            <a:xfrm>
              <a:off x="7531103" y="0"/>
              <a:ext cx="1633538" cy="2498725"/>
            </a:xfrm>
            <a:custGeom>
              <a:avLst/>
              <a:gdLst>
                <a:gd name="T0" fmla="*/ 431 w 431"/>
                <a:gd name="T1" fmla="*/ 0 h 661"/>
                <a:gd name="T2" fmla="*/ 70 w 431"/>
                <a:gd name="T3" fmla="*/ 0 h 661"/>
                <a:gd name="T4" fmla="*/ 89 w 431"/>
                <a:gd name="T5" fmla="*/ 255 h 661"/>
                <a:gd name="T6" fmla="*/ 315 w 431"/>
                <a:gd name="T7" fmla="*/ 458 h 661"/>
                <a:gd name="T8" fmla="*/ 431 w 431"/>
                <a:gd name="T9" fmla="*/ 661 h 661"/>
                <a:gd name="T10" fmla="*/ 431 w 431"/>
                <a:gd name="T11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1" h="661">
                  <a:moveTo>
                    <a:pt x="431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0" y="111"/>
                    <a:pt x="89" y="255"/>
                  </a:cubicBezTo>
                  <a:cubicBezTo>
                    <a:pt x="154" y="361"/>
                    <a:pt x="270" y="351"/>
                    <a:pt x="315" y="458"/>
                  </a:cubicBezTo>
                  <a:cubicBezTo>
                    <a:pt x="361" y="565"/>
                    <a:pt x="291" y="645"/>
                    <a:pt x="431" y="661"/>
                  </a:cubicBezTo>
                  <a:cubicBezTo>
                    <a:pt x="431" y="0"/>
                    <a:pt x="431" y="0"/>
                    <a:pt x="431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Freeform 5"/>
            <p:cNvSpPr/>
            <p:nvPr userDrawn="1"/>
          </p:nvSpPr>
          <p:spPr bwMode="auto">
            <a:xfrm>
              <a:off x="6411309" y="0"/>
              <a:ext cx="2735867" cy="1499710"/>
            </a:xfrm>
            <a:custGeom>
              <a:avLst/>
              <a:gdLst>
                <a:gd name="T0" fmla="*/ 676 w 676"/>
                <a:gd name="T1" fmla="*/ 0 h 369"/>
                <a:gd name="T2" fmla="*/ 65 w 676"/>
                <a:gd name="T3" fmla="*/ 0 h 369"/>
                <a:gd name="T4" fmla="*/ 100 w 676"/>
                <a:gd name="T5" fmla="*/ 200 h 369"/>
                <a:gd name="T6" fmla="*/ 205 w 676"/>
                <a:gd name="T7" fmla="*/ 242 h 369"/>
                <a:gd name="T8" fmla="*/ 286 w 676"/>
                <a:gd name="T9" fmla="*/ 230 h 369"/>
                <a:gd name="T10" fmla="*/ 366 w 676"/>
                <a:gd name="T11" fmla="*/ 219 h 369"/>
                <a:gd name="T12" fmla="*/ 458 w 676"/>
                <a:gd name="T13" fmla="*/ 255 h 369"/>
                <a:gd name="T14" fmla="*/ 658 w 676"/>
                <a:gd name="T15" fmla="*/ 369 h 369"/>
                <a:gd name="T16" fmla="*/ 676 w 676"/>
                <a:gd name="T17" fmla="*/ 368 h 369"/>
                <a:gd name="T18" fmla="*/ 676 w 676"/>
                <a:gd name="T19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6" h="369">
                  <a:moveTo>
                    <a:pt x="676" y="0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0" y="109"/>
                    <a:pt x="100" y="200"/>
                  </a:cubicBezTo>
                  <a:cubicBezTo>
                    <a:pt x="134" y="232"/>
                    <a:pt x="170" y="242"/>
                    <a:pt x="205" y="242"/>
                  </a:cubicBezTo>
                  <a:cubicBezTo>
                    <a:pt x="232" y="242"/>
                    <a:pt x="259" y="236"/>
                    <a:pt x="286" y="230"/>
                  </a:cubicBezTo>
                  <a:cubicBezTo>
                    <a:pt x="313" y="225"/>
                    <a:pt x="340" y="219"/>
                    <a:pt x="366" y="219"/>
                  </a:cubicBezTo>
                  <a:cubicBezTo>
                    <a:pt x="398" y="219"/>
                    <a:pt x="428" y="227"/>
                    <a:pt x="458" y="255"/>
                  </a:cubicBezTo>
                  <a:cubicBezTo>
                    <a:pt x="543" y="334"/>
                    <a:pt x="602" y="369"/>
                    <a:pt x="658" y="369"/>
                  </a:cubicBezTo>
                  <a:cubicBezTo>
                    <a:pt x="664" y="369"/>
                    <a:pt x="670" y="368"/>
                    <a:pt x="676" y="368"/>
                  </a:cubicBezTo>
                  <a:cubicBezTo>
                    <a:pt x="676" y="0"/>
                    <a:pt x="676" y="0"/>
                    <a:pt x="676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30" name="任意多边形: 形状 29"/>
          <p:cNvSpPr/>
          <p:nvPr userDrawn="1"/>
        </p:nvSpPr>
        <p:spPr bwMode="auto">
          <a:xfrm flipH="1">
            <a:off x="-3" y="3764331"/>
            <a:ext cx="3343521" cy="1379169"/>
          </a:xfrm>
          <a:custGeom>
            <a:avLst/>
            <a:gdLst>
              <a:gd name="connsiteX0" fmla="*/ 2701769 w 3255897"/>
              <a:gd name="connsiteY0" fmla="*/ 0 h 1343025"/>
              <a:gd name="connsiteX1" fmla="*/ 2545201 w 3255897"/>
              <a:gd name="connsiteY1" fmla="*/ 12417 h 1343025"/>
              <a:gd name="connsiteX2" fmla="*/ 1272059 w 3255897"/>
              <a:gd name="connsiteY2" fmla="*/ 641546 h 1343025"/>
              <a:gd name="connsiteX3" fmla="*/ 802356 w 3255897"/>
              <a:gd name="connsiteY3" fmla="*/ 591878 h 1343025"/>
              <a:gd name="connsiteX4" fmla="*/ 658149 w 3255897"/>
              <a:gd name="connsiteY4" fmla="*/ 579461 h 1343025"/>
              <a:gd name="connsiteX5" fmla="*/ 7479 w 3255897"/>
              <a:gd name="connsiteY5" fmla="*/ 1295380 h 1343025"/>
              <a:gd name="connsiteX6" fmla="*/ 0 w 3255897"/>
              <a:gd name="connsiteY6" fmla="*/ 1343025 h 1343025"/>
              <a:gd name="connsiteX7" fmla="*/ 3255897 w 3255897"/>
              <a:gd name="connsiteY7" fmla="*/ 1343025 h 1343025"/>
              <a:gd name="connsiteX8" fmla="*/ 3255897 w 3255897"/>
              <a:gd name="connsiteY8" fmla="*/ 204792 h 1343025"/>
              <a:gd name="connsiteX9" fmla="*/ 3196708 w 3255897"/>
              <a:gd name="connsiteY9" fmla="*/ 157283 h 1343025"/>
              <a:gd name="connsiteX10" fmla="*/ 2701769 w 3255897"/>
              <a:gd name="connsiteY10" fmla="*/ 0 h 134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55897" h="1343025">
                <a:moveTo>
                  <a:pt x="2701769" y="0"/>
                </a:moveTo>
                <a:cubicBezTo>
                  <a:pt x="2652326" y="0"/>
                  <a:pt x="2598764" y="4139"/>
                  <a:pt x="2545201" y="12417"/>
                </a:cubicBezTo>
                <a:cubicBezTo>
                  <a:pt x="1997214" y="99336"/>
                  <a:pt x="2067258" y="641546"/>
                  <a:pt x="1272059" y="641546"/>
                </a:cubicBezTo>
                <a:cubicBezTo>
                  <a:pt x="1140212" y="641546"/>
                  <a:pt x="983645" y="624990"/>
                  <a:pt x="802356" y="591878"/>
                </a:cubicBezTo>
                <a:cubicBezTo>
                  <a:pt x="748793" y="583600"/>
                  <a:pt x="703471" y="579461"/>
                  <a:pt x="658149" y="579461"/>
                </a:cubicBezTo>
                <a:cubicBezTo>
                  <a:pt x="191536" y="579461"/>
                  <a:pt x="49389" y="1056740"/>
                  <a:pt x="7479" y="1295380"/>
                </a:cubicBezTo>
                <a:lnTo>
                  <a:pt x="0" y="1343025"/>
                </a:lnTo>
                <a:lnTo>
                  <a:pt x="3255897" y="1343025"/>
                </a:lnTo>
                <a:lnTo>
                  <a:pt x="3255897" y="204792"/>
                </a:lnTo>
                <a:lnTo>
                  <a:pt x="3196708" y="157283"/>
                </a:lnTo>
                <a:cubicBezTo>
                  <a:pt x="3087007" y="78641"/>
                  <a:pt x="2922199" y="0"/>
                  <a:pt x="2701769" y="0"/>
                </a:cubicBezTo>
                <a:close/>
              </a:path>
            </a:pathLst>
          </a:custGeom>
          <a:solidFill>
            <a:srgbClr val="F2E3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35" name="Freeform 5"/>
          <p:cNvSpPr/>
          <p:nvPr userDrawn="1"/>
        </p:nvSpPr>
        <p:spPr bwMode="auto">
          <a:xfrm>
            <a:off x="6569073" y="-94593"/>
            <a:ext cx="2695279" cy="2225018"/>
          </a:xfrm>
          <a:custGeom>
            <a:avLst/>
            <a:gdLst>
              <a:gd name="T0" fmla="*/ 43 w 353"/>
              <a:gd name="T1" fmla="*/ 0 h 291"/>
              <a:gd name="T2" fmla="*/ 76 w 353"/>
              <a:gd name="T3" fmla="*/ 158 h 291"/>
              <a:gd name="T4" fmla="*/ 254 w 353"/>
              <a:gd name="T5" fmla="*/ 197 h 291"/>
              <a:gd name="T6" fmla="*/ 353 w 353"/>
              <a:gd name="T7" fmla="*/ 291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53" h="291">
                <a:moveTo>
                  <a:pt x="43" y="0"/>
                </a:moveTo>
                <a:cubicBezTo>
                  <a:pt x="43" y="0"/>
                  <a:pt x="0" y="94"/>
                  <a:pt x="76" y="158"/>
                </a:cubicBezTo>
                <a:cubicBezTo>
                  <a:pt x="124" y="199"/>
                  <a:pt x="192" y="163"/>
                  <a:pt x="254" y="197"/>
                </a:cubicBezTo>
                <a:cubicBezTo>
                  <a:pt x="316" y="231"/>
                  <a:pt x="300" y="291"/>
                  <a:pt x="353" y="291"/>
                </a:cubicBezTo>
              </a:path>
            </a:pathLst>
          </a:custGeom>
          <a:noFill/>
          <a:ln w="28575" cap="flat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-114300" y="4303005"/>
            <a:ext cx="2110368" cy="843669"/>
            <a:chOff x="-114300" y="3764331"/>
            <a:chExt cx="3457818" cy="1382344"/>
          </a:xfrm>
        </p:grpSpPr>
        <p:sp>
          <p:nvSpPr>
            <p:cNvPr id="27" name="Freeform 17"/>
            <p:cNvSpPr/>
            <p:nvPr userDrawn="1"/>
          </p:nvSpPr>
          <p:spPr bwMode="auto">
            <a:xfrm>
              <a:off x="-114300" y="4025462"/>
              <a:ext cx="3343522" cy="1121213"/>
            </a:xfrm>
            <a:custGeom>
              <a:avLst/>
              <a:gdLst>
                <a:gd name="T0" fmla="*/ 677 w 1046"/>
                <a:gd name="T1" fmla="*/ 0 h 349"/>
                <a:gd name="T2" fmla="*/ 194 w 1046"/>
                <a:gd name="T3" fmla="*/ 168 h 349"/>
                <a:gd name="T4" fmla="*/ 46 w 1046"/>
                <a:gd name="T5" fmla="*/ 349 h 349"/>
                <a:gd name="T6" fmla="*/ 967 w 1046"/>
                <a:gd name="T7" fmla="*/ 349 h 349"/>
                <a:gd name="T8" fmla="*/ 751 w 1046"/>
                <a:gd name="T9" fmla="*/ 6 h 349"/>
                <a:gd name="T10" fmla="*/ 677 w 1046"/>
                <a:gd name="T11" fmla="*/ 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6" h="349">
                  <a:moveTo>
                    <a:pt x="677" y="0"/>
                  </a:moveTo>
                  <a:cubicBezTo>
                    <a:pt x="478" y="0"/>
                    <a:pt x="413" y="151"/>
                    <a:pt x="194" y="168"/>
                  </a:cubicBezTo>
                  <a:cubicBezTo>
                    <a:pt x="0" y="184"/>
                    <a:pt x="46" y="349"/>
                    <a:pt x="46" y="349"/>
                  </a:cubicBezTo>
                  <a:cubicBezTo>
                    <a:pt x="967" y="349"/>
                    <a:pt x="967" y="349"/>
                    <a:pt x="967" y="349"/>
                  </a:cubicBezTo>
                  <a:cubicBezTo>
                    <a:pt x="967" y="349"/>
                    <a:pt x="1046" y="55"/>
                    <a:pt x="751" y="6"/>
                  </a:cubicBezTo>
                  <a:cubicBezTo>
                    <a:pt x="724" y="2"/>
                    <a:pt x="700" y="0"/>
                    <a:pt x="677" y="0"/>
                  </a:cubicBezTo>
                </a:path>
              </a:pathLst>
            </a:custGeom>
            <a:solidFill>
              <a:srgbClr val="98C0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 userDrawn="1"/>
          </p:nvSpPr>
          <p:spPr bwMode="auto">
            <a:xfrm flipH="1">
              <a:off x="-3" y="3764331"/>
              <a:ext cx="3343521" cy="1379169"/>
            </a:xfrm>
            <a:custGeom>
              <a:avLst/>
              <a:gdLst>
                <a:gd name="connsiteX0" fmla="*/ 2701769 w 3255897"/>
                <a:gd name="connsiteY0" fmla="*/ 0 h 1343025"/>
                <a:gd name="connsiteX1" fmla="*/ 2545201 w 3255897"/>
                <a:gd name="connsiteY1" fmla="*/ 12417 h 1343025"/>
                <a:gd name="connsiteX2" fmla="*/ 1272059 w 3255897"/>
                <a:gd name="connsiteY2" fmla="*/ 641546 h 1343025"/>
                <a:gd name="connsiteX3" fmla="*/ 802356 w 3255897"/>
                <a:gd name="connsiteY3" fmla="*/ 591878 h 1343025"/>
                <a:gd name="connsiteX4" fmla="*/ 658149 w 3255897"/>
                <a:gd name="connsiteY4" fmla="*/ 579461 h 1343025"/>
                <a:gd name="connsiteX5" fmla="*/ 7479 w 3255897"/>
                <a:gd name="connsiteY5" fmla="*/ 1295380 h 1343025"/>
                <a:gd name="connsiteX6" fmla="*/ 0 w 3255897"/>
                <a:gd name="connsiteY6" fmla="*/ 1343025 h 1343025"/>
                <a:gd name="connsiteX7" fmla="*/ 3255897 w 3255897"/>
                <a:gd name="connsiteY7" fmla="*/ 1343025 h 1343025"/>
                <a:gd name="connsiteX8" fmla="*/ 3255897 w 3255897"/>
                <a:gd name="connsiteY8" fmla="*/ 204792 h 1343025"/>
                <a:gd name="connsiteX9" fmla="*/ 3196708 w 3255897"/>
                <a:gd name="connsiteY9" fmla="*/ 157283 h 1343025"/>
                <a:gd name="connsiteX10" fmla="*/ 2701769 w 3255897"/>
                <a:gd name="connsiteY10" fmla="*/ 0 h 134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55897" h="1343025">
                  <a:moveTo>
                    <a:pt x="2701769" y="0"/>
                  </a:moveTo>
                  <a:cubicBezTo>
                    <a:pt x="2652326" y="0"/>
                    <a:pt x="2598764" y="4139"/>
                    <a:pt x="2545201" y="12417"/>
                  </a:cubicBezTo>
                  <a:cubicBezTo>
                    <a:pt x="1997214" y="99336"/>
                    <a:pt x="2067258" y="641546"/>
                    <a:pt x="1272059" y="641546"/>
                  </a:cubicBezTo>
                  <a:cubicBezTo>
                    <a:pt x="1140212" y="641546"/>
                    <a:pt x="983645" y="624990"/>
                    <a:pt x="802356" y="591878"/>
                  </a:cubicBezTo>
                  <a:cubicBezTo>
                    <a:pt x="748793" y="583600"/>
                    <a:pt x="703471" y="579461"/>
                    <a:pt x="658149" y="579461"/>
                  </a:cubicBezTo>
                  <a:cubicBezTo>
                    <a:pt x="191536" y="579461"/>
                    <a:pt x="49389" y="1056740"/>
                    <a:pt x="7479" y="1295380"/>
                  </a:cubicBezTo>
                  <a:lnTo>
                    <a:pt x="0" y="1343025"/>
                  </a:lnTo>
                  <a:lnTo>
                    <a:pt x="3255897" y="1343025"/>
                  </a:lnTo>
                  <a:lnTo>
                    <a:pt x="3255897" y="204792"/>
                  </a:lnTo>
                  <a:lnTo>
                    <a:pt x="3196708" y="157283"/>
                  </a:lnTo>
                  <a:cubicBezTo>
                    <a:pt x="3087007" y="78641"/>
                    <a:pt x="2922199" y="0"/>
                    <a:pt x="2701769" y="0"/>
                  </a:cubicBezTo>
                  <a:close/>
                </a:path>
              </a:pathLst>
            </a:custGeom>
            <a:solidFill>
              <a:srgbClr val="F2E3D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2" name="组合 1"/>
          <p:cNvGrpSpPr/>
          <p:nvPr userDrawn="1"/>
        </p:nvGrpSpPr>
        <p:grpSpPr>
          <a:xfrm>
            <a:off x="7528356" y="-94593"/>
            <a:ext cx="1735996" cy="1577705"/>
            <a:chOff x="6085490" y="-94593"/>
            <a:chExt cx="3178862" cy="2889008"/>
          </a:xfrm>
        </p:grpSpPr>
        <p:grpSp>
          <p:nvGrpSpPr>
            <p:cNvPr id="15" name="组合 14"/>
            <p:cNvGrpSpPr/>
            <p:nvPr userDrawn="1"/>
          </p:nvGrpSpPr>
          <p:grpSpPr>
            <a:xfrm>
              <a:off x="6085490" y="0"/>
              <a:ext cx="3079151" cy="2794415"/>
              <a:chOff x="6411309" y="0"/>
              <a:chExt cx="2753332" cy="2498725"/>
            </a:xfrm>
          </p:grpSpPr>
          <p:sp>
            <p:nvSpPr>
              <p:cNvPr id="14" name="Freeform 9"/>
              <p:cNvSpPr/>
              <p:nvPr userDrawn="1"/>
            </p:nvSpPr>
            <p:spPr bwMode="auto">
              <a:xfrm>
                <a:off x="7531103" y="0"/>
                <a:ext cx="1633538" cy="2498725"/>
              </a:xfrm>
              <a:custGeom>
                <a:avLst/>
                <a:gdLst>
                  <a:gd name="T0" fmla="*/ 431 w 431"/>
                  <a:gd name="T1" fmla="*/ 0 h 661"/>
                  <a:gd name="T2" fmla="*/ 70 w 431"/>
                  <a:gd name="T3" fmla="*/ 0 h 661"/>
                  <a:gd name="T4" fmla="*/ 89 w 431"/>
                  <a:gd name="T5" fmla="*/ 255 h 661"/>
                  <a:gd name="T6" fmla="*/ 315 w 431"/>
                  <a:gd name="T7" fmla="*/ 458 h 661"/>
                  <a:gd name="T8" fmla="*/ 431 w 431"/>
                  <a:gd name="T9" fmla="*/ 661 h 661"/>
                  <a:gd name="T10" fmla="*/ 431 w 431"/>
                  <a:gd name="T11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1" h="661">
                    <a:moveTo>
                      <a:pt x="431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70" y="0"/>
                      <a:pt x="0" y="111"/>
                      <a:pt x="89" y="255"/>
                    </a:cubicBezTo>
                    <a:cubicBezTo>
                      <a:pt x="154" y="361"/>
                      <a:pt x="270" y="351"/>
                      <a:pt x="315" y="458"/>
                    </a:cubicBezTo>
                    <a:cubicBezTo>
                      <a:pt x="361" y="565"/>
                      <a:pt x="291" y="645"/>
                      <a:pt x="431" y="661"/>
                    </a:cubicBezTo>
                    <a:cubicBezTo>
                      <a:pt x="431" y="0"/>
                      <a:pt x="431" y="0"/>
                      <a:pt x="431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" name="Freeform 5"/>
              <p:cNvSpPr/>
              <p:nvPr userDrawn="1"/>
            </p:nvSpPr>
            <p:spPr bwMode="auto">
              <a:xfrm>
                <a:off x="6411309" y="0"/>
                <a:ext cx="2735867" cy="1499710"/>
              </a:xfrm>
              <a:custGeom>
                <a:avLst/>
                <a:gdLst>
                  <a:gd name="T0" fmla="*/ 676 w 676"/>
                  <a:gd name="T1" fmla="*/ 0 h 369"/>
                  <a:gd name="T2" fmla="*/ 65 w 676"/>
                  <a:gd name="T3" fmla="*/ 0 h 369"/>
                  <a:gd name="T4" fmla="*/ 100 w 676"/>
                  <a:gd name="T5" fmla="*/ 200 h 369"/>
                  <a:gd name="T6" fmla="*/ 205 w 676"/>
                  <a:gd name="T7" fmla="*/ 242 h 369"/>
                  <a:gd name="T8" fmla="*/ 286 w 676"/>
                  <a:gd name="T9" fmla="*/ 230 h 369"/>
                  <a:gd name="T10" fmla="*/ 366 w 676"/>
                  <a:gd name="T11" fmla="*/ 219 h 369"/>
                  <a:gd name="T12" fmla="*/ 458 w 676"/>
                  <a:gd name="T13" fmla="*/ 255 h 369"/>
                  <a:gd name="T14" fmla="*/ 658 w 676"/>
                  <a:gd name="T15" fmla="*/ 369 h 369"/>
                  <a:gd name="T16" fmla="*/ 676 w 676"/>
                  <a:gd name="T17" fmla="*/ 368 h 369"/>
                  <a:gd name="T18" fmla="*/ 676 w 676"/>
                  <a:gd name="T19" fmla="*/ 0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6" h="369">
                    <a:moveTo>
                      <a:pt x="676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65" y="0"/>
                      <a:pt x="0" y="109"/>
                      <a:pt x="100" y="200"/>
                    </a:cubicBezTo>
                    <a:cubicBezTo>
                      <a:pt x="134" y="232"/>
                      <a:pt x="170" y="242"/>
                      <a:pt x="205" y="242"/>
                    </a:cubicBezTo>
                    <a:cubicBezTo>
                      <a:pt x="232" y="242"/>
                      <a:pt x="259" y="236"/>
                      <a:pt x="286" y="230"/>
                    </a:cubicBezTo>
                    <a:cubicBezTo>
                      <a:pt x="313" y="225"/>
                      <a:pt x="340" y="219"/>
                      <a:pt x="366" y="219"/>
                    </a:cubicBezTo>
                    <a:cubicBezTo>
                      <a:pt x="398" y="219"/>
                      <a:pt x="428" y="227"/>
                      <a:pt x="458" y="255"/>
                    </a:cubicBezTo>
                    <a:cubicBezTo>
                      <a:pt x="543" y="334"/>
                      <a:pt x="602" y="369"/>
                      <a:pt x="658" y="369"/>
                    </a:cubicBezTo>
                    <a:cubicBezTo>
                      <a:pt x="664" y="369"/>
                      <a:pt x="670" y="368"/>
                      <a:pt x="676" y="368"/>
                    </a:cubicBezTo>
                    <a:cubicBezTo>
                      <a:pt x="676" y="0"/>
                      <a:pt x="676" y="0"/>
                      <a:pt x="676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35" name="Freeform 5"/>
            <p:cNvSpPr/>
            <p:nvPr userDrawn="1"/>
          </p:nvSpPr>
          <p:spPr bwMode="auto">
            <a:xfrm>
              <a:off x="6569073" y="-94593"/>
              <a:ext cx="2695279" cy="2225018"/>
            </a:xfrm>
            <a:custGeom>
              <a:avLst/>
              <a:gdLst>
                <a:gd name="T0" fmla="*/ 43 w 353"/>
                <a:gd name="T1" fmla="*/ 0 h 291"/>
                <a:gd name="T2" fmla="*/ 76 w 353"/>
                <a:gd name="T3" fmla="*/ 158 h 291"/>
                <a:gd name="T4" fmla="*/ 254 w 353"/>
                <a:gd name="T5" fmla="*/ 197 h 291"/>
                <a:gd name="T6" fmla="*/ 353 w 353"/>
                <a:gd name="T7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3" h="291">
                  <a:moveTo>
                    <a:pt x="43" y="0"/>
                  </a:moveTo>
                  <a:cubicBezTo>
                    <a:pt x="43" y="0"/>
                    <a:pt x="0" y="94"/>
                    <a:pt x="76" y="158"/>
                  </a:cubicBezTo>
                  <a:cubicBezTo>
                    <a:pt x="124" y="199"/>
                    <a:pt x="192" y="163"/>
                    <a:pt x="254" y="197"/>
                  </a:cubicBezTo>
                  <a:cubicBezTo>
                    <a:pt x="316" y="231"/>
                    <a:pt x="300" y="291"/>
                    <a:pt x="353" y="291"/>
                  </a:cubicBezTo>
                </a:path>
              </a:pathLst>
            </a:custGeom>
            <a:noFill/>
            <a:ln w="28575" cap="flat">
              <a:solidFill>
                <a:schemeClr val="accent4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-114300" y="4303005"/>
            <a:ext cx="2110368" cy="843669"/>
            <a:chOff x="-114300" y="3764331"/>
            <a:chExt cx="3457818" cy="1382344"/>
          </a:xfrm>
        </p:grpSpPr>
        <p:sp>
          <p:nvSpPr>
            <p:cNvPr id="27" name="Freeform 17"/>
            <p:cNvSpPr/>
            <p:nvPr userDrawn="1"/>
          </p:nvSpPr>
          <p:spPr bwMode="auto">
            <a:xfrm>
              <a:off x="-114300" y="4025462"/>
              <a:ext cx="3343522" cy="1121213"/>
            </a:xfrm>
            <a:custGeom>
              <a:avLst/>
              <a:gdLst>
                <a:gd name="T0" fmla="*/ 677 w 1046"/>
                <a:gd name="T1" fmla="*/ 0 h 349"/>
                <a:gd name="T2" fmla="*/ 194 w 1046"/>
                <a:gd name="T3" fmla="*/ 168 h 349"/>
                <a:gd name="T4" fmla="*/ 46 w 1046"/>
                <a:gd name="T5" fmla="*/ 349 h 349"/>
                <a:gd name="T6" fmla="*/ 967 w 1046"/>
                <a:gd name="T7" fmla="*/ 349 h 349"/>
                <a:gd name="T8" fmla="*/ 751 w 1046"/>
                <a:gd name="T9" fmla="*/ 6 h 349"/>
                <a:gd name="T10" fmla="*/ 677 w 1046"/>
                <a:gd name="T11" fmla="*/ 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6" h="349">
                  <a:moveTo>
                    <a:pt x="677" y="0"/>
                  </a:moveTo>
                  <a:cubicBezTo>
                    <a:pt x="478" y="0"/>
                    <a:pt x="413" y="151"/>
                    <a:pt x="194" y="168"/>
                  </a:cubicBezTo>
                  <a:cubicBezTo>
                    <a:pt x="0" y="184"/>
                    <a:pt x="46" y="349"/>
                    <a:pt x="46" y="349"/>
                  </a:cubicBezTo>
                  <a:cubicBezTo>
                    <a:pt x="967" y="349"/>
                    <a:pt x="967" y="349"/>
                    <a:pt x="967" y="349"/>
                  </a:cubicBezTo>
                  <a:cubicBezTo>
                    <a:pt x="967" y="349"/>
                    <a:pt x="1046" y="55"/>
                    <a:pt x="751" y="6"/>
                  </a:cubicBezTo>
                  <a:cubicBezTo>
                    <a:pt x="724" y="2"/>
                    <a:pt x="700" y="0"/>
                    <a:pt x="677" y="0"/>
                  </a:cubicBezTo>
                </a:path>
              </a:pathLst>
            </a:custGeom>
            <a:solidFill>
              <a:srgbClr val="98C0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任意多边形: 形状 29"/>
            <p:cNvSpPr/>
            <p:nvPr userDrawn="1"/>
          </p:nvSpPr>
          <p:spPr bwMode="auto">
            <a:xfrm flipH="1">
              <a:off x="-3" y="3764331"/>
              <a:ext cx="3343521" cy="1379169"/>
            </a:xfrm>
            <a:custGeom>
              <a:avLst/>
              <a:gdLst>
                <a:gd name="connsiteX0" fmla="*/ 2701769 w 3255897"/>
                <a:gd name="connsiteY0" fmla="*/ 0 h 1343025"/>
                <a:gd name="connsiteX1" fmla="*/ 2545201 w 3255897"/>
                <a:gd name="connsiteY1" fmla="*/ 12417 h 1343025"/>
                <a:gd name="connsiteX2" fmla="*/ 1272059 w 3255897"/>
                <a:gd name="connsiteY2" fmla="*/ 641546 h 1343025"/>
                <a:gd name="connsiteX3" fmla="*/ 802356 w 3255897"/>
                <a:gd name="connsiteY3" fmla="*/ 591878 h 1343025"/>
                <a:gd name="connsiteX4" fmla="*/ 658149 w 3255897"/>
                <a:gd name="connsiteY4" fmla="*/ 579461 h 1343025"/>
                <a:gd name="connsiteX5" fmla="*/ 7479 w 3255897"/>
                <a:gd name="connsiteY5" fmla="*/ 1295380 h 1343025"/>
                <a:gd name="connsiteX6" fmla="*/ 0 w 3255897"/>
                <a:gd name="connsiteY6" fmla="*/ 1343025 h 1343025"/>
                <a:gd name="connsiteX7" fmla="*/ 3255897 w 3255897"/>
                <a:gd name="connsiteY7" fmla="*/ 1343025 h 1343025"/>
                <a:gd name="connsiteX8" fmla="*/ 3255897 w 3255897"/>
                <a:gd name="connsiteY8" fmla="*/ 204792 h 1343025"/>
                <a:gd name="connsiteX9" fmla="*/ 3196708 w 3255897"/>
                <a:gd name="connsiteY9" fmla="*/ 157283 h 1343025"/>
                <a:gd name="connsiteX10" fmla="*/ 2701769 w 3255897"/>
                <a:gd name="connsiteY10" fmla="*/ 0 h 134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55897" h="1343025">
                  <a:moveTo>
                    <a:pt x="2701769" y="0"/>
                  </a:moveTo>
                  <a:cubicBezTo>
                    <a:pt x="2652326" y="0"/>
                    <a:pt x="2598764" y="4139"/>
                    <a:pt x="2545201" y="12417"/>
                  </a:cubicBezTo>
                  <a:cubicBezTo>
                    <a:pt x="1997214" y="99336"/>
                    <a:pt x="2067258" y="641546"/>
                    <a:pt x="1272059" y="641546"/>
                  </a:cubicBezTo>
                  <a:cubicBezTo>
                    <a:pt x="1140212" y="641546"/>
                    <a:pt x="983645" y="624990"/>
                    <a:pt x="802356" y="591878"/>
                  </a:cubicBezTo>
                  <a:cubicBezTo>
                    <a:pt x="748793" y="583600"/>
                    <a:pt x="703471" y="579461"/>
                    <a:pt x="658149" y="579461"/>
                  </a:cubicBezTo>
                  <a:cubicBezTo>
                    <a:pt x="191536" y="579461"/>
                    <a:pt x="49389" y="1056740"/>
                    <a:pt x="7479" y="1295380"/>
                  </a:cubicBezTo>
                  <a:lnTo>
                    <a:pt x="0" y="1343025"/>
                  </a:lnTo>
                  <a:lnTo>
                    <a:pt x="3255897" y="1343025"/>
                  </a:lnTo>
                  <a:lnTo>
                    <a:pt x="3255897" y="204792"/>
                  </a:lnTo>
                  <a:lnTo>
                    <a:pt x="3196708" y="157283"/>
                  </a:lnTo>
                  <a:cubicBezTo>
                    <a:pt x="3087007" y="78641"/>
                    <a:pt x="2922199" y="0"/>
                    <a:pt x="2701769" y="0"/>
                  </a:cubicBezTo>
                  <a:close/>
                </a:path>
              </a:pathLst>
            </a:custGeom>
            <a:solidFill>
              <a:srgbClr val="F2E3D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/>
            </a:p>
          </p:txBody>
        </p:sp>
      </p:grpSp>
      <p:grpSp>
        <p:nvGrpSpPr>
          <p:cNvPr id="2" name="组合 1"/>
          <p:cNvGrpSpPr/>
          <p:nvPr userDrawn="1"/>
        </p:nvGrpSpPr>
        <p:grpSpPr>
          <a:xfrm>
            <a:off x="7528356" y="-94593"/>
            <a:ext cx="1735996" cy="1577705"/>
            <a:chOff x="6085490" y="-94593"/>
            <a:chExt cx="3178862" cy="2889008"/>
          </a:xfrm>
        </p:grpSpPr>
        <p:grpSp>
          <p:nvGrpSpPr>
            <p:cNvPr id="15" name="组合 14"/>
            <p:cNvGrpSpPr/>
            <p:nvPr userDrawn="1"/>
          </p:nvGrpSpPr>
          <p:grpSpPr>
            <a:xfrm>
              <a:off x="6085490" y="0"/>
              <a:ext cx="3079151" cy="2794415"/>
              <a:chOff x="6411309" y="0"/>
              <a:chExt cx="2753332" cy="2498725"/>
            </a:xfrm>
          </p:grpSpPr>
          <p:sp>
            <p:nvSpPr>
              <p:cNvPr id="14" name="Freeform 9"/>
              <p:cNvSpPr/>
              <p:nvPr userDrawn="1"/>
            </p:nvSpPr>
            <p:spPr bwMode="auto">
              <a:xfrm>
                <a:off x="7531103" y="0"/>
                <a:ext cx="1633538" cy="2498725"/>
              </a:xfrm>
              <a:custGeom>
                <a:avLst/>
                <a:gdLst>
                  <a:gd name="T0" fmla="*/ 431 w 431"/>
                  <a:gd name="T1" fmla="*/ 0 h 661"/>
                  <a:gd name="T2" fmla="*/ 70 w 431"/>
                  <a:gd name="T3" fmla="*/ 0 h 661"/>
                  <a:gd name="T4" fmla="*/ 89 w 431"/>
                  <a:gd name="T5" fmla="*/ 255 h 661"/>
                  <a:gd name="T6" fmla="*/ 315 w 431"/>
                  <a:gd name="T7" fmla="*/ 458 h 661"/>
                  <a:gd name="T8" fmla="*/ 431 w 431"/>
                  <a:gd name="T9" fmla="*/ 661 h 661"/>
                  <a:gd name="T10" fmla="*/ 431 w 431"/>
                  <a:gd name="T11" fmla="*/ 0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1" h="661">
                    <a:moveTo>
                      <a:pt x="431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70" y="0"/>
                      <a:pt x="0" y="111"/>
                      <a:pt x="89" y="255"/>
                    </a:cubicBezTo>
                    <a:cubicBezTo>
                      <a:pt x="154" y="361"/>
                      <a:pt x="270" y="351"/>
                      <a:pt x="315" y="458"/>
                    </a:cubicBezTo>
                    <a:cubicBezTo>
                      <a:pt x="361" y="565"/>
                      <a:pt x="291" y="645"/>
                      <a:pt x="431" y="661"/>
                    </a:cubicBezTo>
                    <a:cubicBezTo>
                      <a:pt x="431" y="0"/>
                      <a:pt x="431" y="0"/>
                      <a:pt x="431" y="0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" name="Freeform 5"/>
              <p:cNvSpPr/>
              <p:nvPr userDrawn="1"/>
            </p:nvSpPr>
            <p:spPr bwMode="auto">
              <a:xfrm>
                <a:off x="6411309" y="0"/>
                <a:ext cx="2735867" cy="1499710"/>
              </a:xfrm>
              <a:custGeom>
                <a:avLst/>
                <a:gdLst>
                  <a:gd name="T0" fmla="*/ 676 w 676"/>
                  <a:gd name="T1" fmla="*/ 0 h 369"/>
                  <a:gd name="T2" fmla="*/ 65 w 676"/>
                  <a:gd name="T3" fmla="*/ 0 h 369"/>
                  <a:gd name="T4" fmla="*/ 100 w 676"/>
                  <a:gd name="T5" fmla="*/ 200 h 369"/>
                  <a:gd name="T6" fmla="*/ 205 w 676"/>
                  <a:gd name="T7" fmla="*/ 242 h 369"/>
                  <a:gd name="T8" fmla="*/ 286 w 676"/>
                  <a:gd name="T9" fmla="*/ 230 h 369"/>
                  <a:gd name="T10" fmla="*/ 366 w 676"/>
                  <a:gd name="T11" fmla="*/ 219 h 369"/>
                  <a:gd name="T12" fmla="*/ 458 w 676"/>
                  <a:gd name="T13" fmla="*/ 255 h 369"/>
                  <a:gd name="T14" fmla="*/ 658 w 676"/>
                  <a:gd name="T15" fmla="*/ 369 h 369"/>
                  <a:gd name="T16" fmla="*/ 676 w 676"/>
                  <a:gd name="T17" fmla="*/ 368 h 369"/>
                  <a:gd name="T18" fmla="*/ 676 w 676"/>
                  <a:gd name="T19" fmla="*/ 0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6" h="369">
                    <a:moveTo>
                      <a:pt x="676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65" y="0"/>
                      <a:pt x="0" y="109"/>
                      <a:pt x="100" y="200"/>
                    </a:cubicBezTo>
                    <a:cubicBezTo>
                      <a:pt x="134" y="232"/>
                      <a:pt x="170" y="242"/>
                      <a:pt x="205" y="242"/>
                    </a:cubicBezTo>
                    <a:cubicBezTo>
                      <a:pt x="232" y="242"/>
                      <a:pt x="259" y="236"/>
                      <a:pt x="286" y="230"/>
                    </a:cubicBezTo>
                    <a:cubicBezTo>
                      <a:pt x="313" y="225"/>
                      <a:pt x="340" y="219"/>
                      <a:pt x="366" y="219"/>
                    </a:cubicBezTo>
                    <a:cubicBezTo>
                      <a:pt x="398" y="219"/>
                      <a:pt x="428" y="227"/>
                      <a:pt x="458" y="255"/>
                    </a:cubicBezTo>
                    <a:cubicBezTo>
                      <a:pt x="543" y="334"/>
                      <a:pt x="602" y="369"/>
                      <a:pt x="658" y="369"/>
                    </a:cubicBezTo>
                    <a:cubicBezTo>
                      <a:pt x="664" y="369"/>
                      <a:pt x="670" y="368"/>
                      <a:pt x="676" y="368"/>
                    </a:cubicBezTo>
                    <a:cubicBezTo>
                      <a:pt x="676" y="0"/>
                      <a:pt x="676" y="0"/>
                      <a:pt x="676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35" name="Freeform 5"/>
            <p:cNvSpPr/>
            <p:nvPr userDrawn="1"/>
          </p:nvSpPr>
          <p:spPr bwMode="auto">
            <a:xfrm>
              <a:off x="6569073" y="-94593"/>
              <a:ext cx="2695279" cy="2225018"/>
            </a:xfrm>
            <a:custGeom>
              <a:avLst/>
              <a:gdLst>
                <a:gd name="T0" fmla="*/ 43 w 353"/>
                <a:gd name="T1" fmla="*/ 0 h 291"/>
                <a:gd name="T2" fmla="*/ 76 w 353"/>
                <a:gd name="T3" fmla="*/ 158 h 291"/>
                <a:gd name="T4" fmla="*/ 254 w 353"/>
                <a:gd name="T5" fmla="*/ 197 h 291"/>
                <a:gd name="T6" fmla="*/ 353 w 353"/>
                <a:gd name="T7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3" h="291">
                  <a:moveTo>
                    <a:pt x="43" y="0"/>
                  </a:moveTo>
                  <a:cubicBezTo>
                    <a:pt x="43" y="0"/>
                    <a:pt x="0" y="94"/>
                    <a:pt x="76" y="158"/>
                  </a:cubicBezTo>
                  <a:cubicBezTo>
                    <a:pt x="124" y="199"/>
                    <a:pt x="192" y="163"/>
                    <a:pt x="254" y="197"/>
                  </a:cubicBezTo>
                  <a:cubicBezTo>
                    <a:pt x="316" y="231"/>
                    <a:pt x="300" y="291"/>
                    <a:pt x="353" y="291"/>
                  </a:cubicBezTo>
                </a:path>
              </a:pathLst>
            </a:custGeom>
            <a:noFill/>
            <a:ln w="28575" cap="flat">
              <a:solidFill>
                <a:schemeClr val="accent4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62444" y="1120504"/>
            <a:ext cx="1972506" cy="17632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2552624" y="2989638"/>
            <a:ext cx="1972506" cy="17632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4642804" y="1120505"/>
            <a:ext cx="1972506" cy="17632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6732985" y="2989637"/>
            <a:ext cx="1972506" cy="176323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FontTx/>
              <a:buNone/>
              <a:defRPr lang="en-US"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4" name="矩形 3"/>
          <p:cNvSpPr/>
          <p:nvPr userDrawn="1"/>
        </p:nvSpPr>
        <p:spPr>
          <a:xfrm>
            <a:off x="477148" y="2989951"/>
            <a:ext cx="1972506" cy="17632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/>
          <p:cNvSpPr/>
          <p:nvPr userDrawn="1"/>
        </p:nvSpPr>
        <p:spPr>
          <a:xfrm>
            <a:off x="2552624" y="1120503"/>
            <a:ext cx="1972506" cy="17632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 16"/>
          <p:cNvSpPr/>
          <p:nvPr userDrawn="1"/>
        </p:nvSpPr>
        <p:spPr>
          <a:xfrm>
            <a:off x="4642804" y="2989637"/>
            <a:ext cx="1972506" cy="1763231"/>
          </a:xfrm>
          <a:prstGeom prst="rect">
            <a:avLst/>
          </a:prstGeom>
          <a:solidFill>
            <a:schemeClr val="accent3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 userDrawn="1"/>
        </p:nvSpPr>
        <p:spPr>
          <a:xfrm>
            <a:off x="6732985" y="1120503"/>
            <a:ext cx="1972506" cy="1763231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3F87CF-3569-4A6D-ABE9-80B564D3AFB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31EDE2-ED55-47B1-BF0C-0EF98048EBB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45.xml"/><Relationship Id="rId8" Type="http://schemas.openxmlformats.org/officeDocument/2006/relationships/tags" Target="../tags/tag44.xml"/><Relationship Id="rId7" Type="http://schemas.openxmlformats.org/officeDocument/2006/relationships/tags" Target="../tags/tag43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3" Type="http://schemas.openxmlformats.org/officeDocument/2006/relationships/tags" Target="../tags/tag39.xml"/><Relationship Id="rId24" Type="http://schemas.openxmlformats.org/officeDocument/2006/relationships/slideLayout" Target="../slideLayouts/slideLayout2.xml"/><Relationship Id="rId23" Type="http://schemas.openxmlformats.org/officeDocument/2006/relationships/image" Target="../media/image1.jpeg"/><Relationship Id="rId22" Type="http://schemas.openxmlformats.org/officeDocument/2006/relationships/tags" Target="../tags/tag51.xml"/><Relationship Id="rId21" Type="http://schemas.openxmlformats.org/officeDocument/2006/relationships/image" Target="../media/image8.png"/><Relationship Id="rId20" Type="http://schemas.openxmlformats.org/officeDocument/2006/relationships/image" Target="../media/image22.svg"/><Relationship Id="rId2" Type="http://schemas.openxmlformats.org/officeDocument/2006/relationships/tags" Target="../tags/tag38.xml"/><Relationship Id="rId19" Type="http://schemas.openxmlformats.org/officeDocument/2006/relationships/image" Target="../media/image21.png"/><Relationship Id="rId18" Type="http://schemas.openxmlformats.org/officeDocument/2006/relationships/image" Target="../media/image20.svg"/><Relationship Id="rId17" Type="http://schemas.openxmlformats.org/officeDocument/2006/relationships/image" Target="../media/image19.png"/><Relationship Id="rId16" Type="http://schemas.openxmlformats.org/officeDocument/2006/relationships/image" Target="../media/image18.svg"/><Relationship Id="rId15" Type="http://schemas.openxmlformats.org/officeDocument/2006/relationships/image" Target="../media/image17.png"/><Relationship Id="rId14" Type="http://schemas.openxmlformats.org/officeDocument/2006/relationships/tags" Target="../tags/tag50.xml"/><Relationship Id="rId13" Type="http://schemas.openxmlformats.org/officeDocument/2006/relationships/tags" Target="../tags/tag49.xml"/><Relationship Id="rId12" Type="http://schemas.openxmlformats.org/officeDocument/2006/relationships/tags" Target="../tags/tag48.xml"/><Relationship Id="rId11" Type="http://schemas.openxmlformats.org/officeDocument/2006/relationships/tags" Target="../tags/tag47.xml"/><Relationship Id="rId10" Type="http://schemas.openxmlformats.org/officeDocument/2006/relationships/tags" Target="../tags/tag46.xml"/><Relationship Id="rId1" Type="http://schemas.openxmlformats.org/officeDocument/2006/relationships/tags" Target="../tags/tag37.xml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tags" Target="../tags/tag60.xml"/><Relationship Id="rId8" Type="http://schemas.openxmlformats.org/officeDocument/2006/relationships/tags" Target="../tags/tag59.xml"/><Relationship Id="rId7" Type="http://schemas.openxmlformats.org/officeDocument/2006/relationships/tags" Target="../tags/tag58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6" Type="http://schemas.openxmlformats.org/officeDocument/2006/relationships/slideLayout" Target="../slideLayouts/slideLayout2.xml"/><Relationship Id="rId15" Type="http://schemas.openxmlformats.org/officeDocument/2006/relationships/image" Target="../media/image1.jpeg"/><Relationship Id="rId14" Type="http://schemas.openxmlformats.org/officeDocument/2006/relationships/tags" Target="../tags/tag64.xml"/><Relationship Id="rId13" Type="http://schemas.openxmlformats.org/officeDocument/2006/relationships/image" Target="../media/image8.png"/><Relationship Id="rId12" Type="http://schemas.openxmlformats.org/officeDocument/2006/relationships/tags" Target="../tags/tag63.xml"/><Relationship Id="rId11" Type="http://schemas.openxmlformats.org/officeDocument/2006/relationships/tags" Target="../tags/tag62.xml"/><Relationship Id="rId10" Type="http://schemas.openxmlformats.org/officeDocument/2006/relationships/tags" Target="../tags/tag61.xml"/><Relationship Id="rId1" Type="http://schemas.openxmlformats.org/officeDocument/2006/relationships/tags" Target="../tags/tag5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tags" Target="../tags/tag6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4.jpeg"/><Relationship Id="rId3" Type="http://schemas.openxmlformats.org/officeDocument/2006/relationships/tags" Target="../tags/tag66.xml"/><Relationship Id="rId2" Type="http://schemas.openxmlformats.org/officeDocument/2006/relationships/image" Target="../media/image1.jpeg"/><Relationship Id="rId1" Type="http://schemas.openxmlformats.org/officeDocument/2006/relationships/tags" Target="../tags/tag65.xml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.jpeg"/><Relationship Id="rId2" Type="http://schemas.openxmlformats.org/officeDocument/2006/relationships/tags" Target="../tags/tag68.xml"/><Relationship Id="rId1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.jpeg"/><Relationship Id="rId3" Type="http://schemas.openxmlformats.org/officeDocument/2006/relationships/tags" Target="../tags/tag70.xml"/><Relationship Id="rId2" Type="http://schemas.openxmlformats.org/officeDocument/2006/relationships/image" Target="../media/image25.png"/><Relationship Id="rId1" Type="http://schemas.openxmlformats.org/officeDocument/2006/relationships/tags" Target="../tags/tag6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.jpeg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.xml"/><Relationship Id="rId3" Type="http://schemas.openxmlformats.org/officeDocument/2006/relationships/image" Target="../media/image1.jpeg"/><Relationship Id="rId2" Type="http://schemas.openxmlformats.org/officeDocument/2006/relationships/tags" Target="../tags/tag76.xml"/><Relationship Id="rId1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.jpeg"/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.jpeg"/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1.jpeg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s/_rels/slide2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8.png"/><Relationship Id="rId3" Type="http://schemas.openxmlformats.org/officeDocument/2006/relationships/image" Target="../media/image1.jpeg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1.xml"/><Relationship Id="rId8" Type="http://schemas.openxmlformats.org/officeDocument/2006/relationships/tags" Target="../tags/tag10.xml"/><Relationship Id="rId7" Type="http://schemas.openxmlformats.org/officeDocument/2006/relationships/tags" Target="../tags/tag9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7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5" Type="http://schemas.openxmlformats.org/officeDocument/2006/relationships/image" Target="../media/image3.jpeg"/><Relationship Id="rId14" Type="http://schemas.openxmlformats.org/officeDocument/2006/relationships/tags" Target="../tags/tag16.xml"/><Relationship Id="rId13" Type="http://schemas.openxmlformats.org/officeDocument/2006/relationships/tags" Target="../tags/tag15.xml"/><Relationship Id="rId12" Type="http://schemas.openxmlformats.org/officeDocument/2006/relationships/tags" Target="../tags/tag14.xml"/><Relationship Id="rId11" Type="http://schemas.openxmlformats.org/officeDocument/2006/relationships/tags" Target="../tags/tag13.xml"/><Relationship Id="rId10" Type="http://schemas.openxmlformats.org/officeDocument/2006/relationships/tags" Target="../tags/tag12.xml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1.jpeg"/><Relationship Id="rId4" Type="http://schemas.openxmlformats.org/officeDocument/2006/relationships/tags" Target="../tags/tag18.xml"/><Relationship Id="rId3" Type="http://schemas.openxmlformats.org/officeDocument/2006/relationships/image" Target="../media/image6.jpeg"/><Relationship Id="rId2" Type="http://schemas.openxmlformats.org/officeDocument/2006/relationships/tags" Target="../tags/tag17.xml"/><Relationship Id="rId1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8" Type="http://schemas.openxmlformats.org/officeDocument/2006/relationships/tags" Target="../tags/tag26.xml"/><Relationship Id="rId7" Type="http://schemas.openxmlformats.org/officeDocument/2006/relationships/tags" Target="../tags/tag25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6" Type="http://schemas.openxmlformats.org/officeDocument/2006/relationships/slideLayout" Target="../slideLayouts/slideLayout2.xml"/><Relationship Id="rId15" Type="http://schemas.openxmlformats.org/officeDocument/2006/relationships/image" Target="../media/image1.jpeg"/><Relationship Id="rId14" Type="http://schemas.openxmlformats.org/officeDocument/2006/relationships/tags" Target="../tags/tag31.xml"/><Relationship Id="rId13" Type="http://schemas.openxmlformats.org/officeDocument/2006/relationships/image" Target="../media/image2.png"/><Relationship Id="rId12" Type="http://schemas.openxmlformats.org/officeDocument/2006/relationships/tags" Target="../tags/tag30.xml"/><Relationship Id="rId11" Type="http://schemas.openxmlformats.org/officeDocument/2006/relationships/tags" Target="../tags/tag29.xml"/><Relationship Id="rId10" Type="http://schemas.openxmlformats.org/officeDocument/2006/relationships/tags" Target="../tags/tag28.xml"/><Relationship Id="rId1" Type="http://schemas.openxmlformats.org/officeDocument/2006/relationships/tags" Target="../tags/tag19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.jpeg"/><Relationship Id="rId3" Type="http://schemas.openxmlformats.org/officeDocument/2006/relationships/tags" Target="../tags/tag33.xml"/><Relationship Id="rId2" Type="http://schemas.openxmlformats.org/officeDocument/2006/relationships/image" Target="../media/image8.png"/><Relationship Id="rId1" Type="http://schemas.openxmlformats.org/officeDocument/2006/relationships/tags" Target="../tags/tag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1" Type="http://schemas.openxmlformats.org/officeDocument/2006/relationships/tags" Target="../tags/tag34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2.png"/><Relationship Id="rId8" Type="http://schemas.openxmlformats.org/officeDocument/2006/relationships/image" Target="../media/image16.svg"/><Relationship Id="rId7" Type="http://schemas.openxmlformats.org/officeDocument/2006/relationships/image" Target="../media/image15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Relationship Id="rId3" Type="http://schemas.openxmlformats.org/officeDocument/2006/relationships/image" Target="../media/image11.png"/><Relationship Id="rId2" Type="http://schemas.openxmlformats.org/officeDocument/2006/relationships/image" Target="../media/image10.svg"/><Relationship Id="rId12" Type="http://schemas.openxmlformats.org/officeDocument/2006/relationships/slideLayout" Target="../slideLayouts/slideLayout2.xml"/><Relationship Id="rId11" Type="http://schemas.openxmlformats.org/officeDocument/2006/relationships/image" Target="../media/image1.jpeg"/><Relationship Id="rId10" Type="http://schemas.openxmlformats.org/officeDocument/2006/relationships/tags" Target="../tags/tag35.xml"/><Relationship Id="rId1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椭圆 8"/>
          <p:cNvSpPr/>
          <p:nvPr/>
        </p:nvSpPr>
        <p:spPr>
          <a:xfrm>
            <a:off x="-898227" y="1360666"/>
            <a:ext cx="477520" cy="477520"/>
          </a:xfrm>
          <a:prstGeom prst="ellipse">
            <a:avLst/>
          </a:prstGeom>
          <a:solidFill>
            <a:srgbClr val="C9D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-898227" y="1980426"/>
            <a:ext cx="477520" cy="477520"/>
          </a:xfrm>
          <a:prstGeom prst="ellipse">
            <a:avLst/>
          </a:prstGeom>
          <a:solidFill>
            <a:srgbClr val="88B8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-898227" y="2621868"/>
            <a:ext cx="477520" cy="477520"/>
          </a:xfrm>
          <a:prstGeom prst="ellipse">
            <a:avLst/>
          </a:prstGeom>
          <a:solidFill>
            <a:srgbClr val="516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-898227" y="3213780"/>
            <a:ext cx="477520" cy="477520"/>
          </a:xfrm>
          <a:prstGeom prst="ellipse">
            <a:avLst/>
          </a:prstGeom>
          <a:solidFill>
            <a:srgbClr val="F2E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 bwMode="auto">
          <a:xfrm>
            <a:off x="906146" y="1189018"/>
            <a:ext cx="4983480" cy="92202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5400" kern="1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cs typeface="Times New Roman" panose="02020603050405020304" pitchFamily="18" charset="0"/>
              </a:rPr>
              <a:t>聚焦落地新课标</a:t>
            </a:r>
            <a:endParaRPr lang="zh-CN" altLang="en-US" sz="5400" kern="1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  <a:cs typeface="Times New Roman" panose="02020603050405020304" pitchFamily="18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1449705" y="2981960"/>
            <a:ext cx="5986145" cy="36830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dist"/>
            <a:r>
              <a:rPr lang="en-US" altLang="zh-CN">
                <a:solidFill>
                  <a:srgbClr val="51688A"/>
                </a:solidFill>
                <a:latin typeface="+mj-lt"/>
              </a:rPr>
              <a:t>——信息科技学科2022-2023学年第一学期研究工作计划</a:t>
            </a:r>
            <a:endParaRPr lang="en-US" altLang="zh-CN">
              <a:solidFill>
                <a:srgbClr val="51688A"/>
              </a:solidFill>
              <a:latin typeface="+mj-lt"/>
            </a:endParaRPr>
          </a:p>
        </p:txBody>
      </p:sp>
      <p:sp>
        <p:nvSpPr>
          <p:cNvPr id="28" name="矩形: 圆角 27"/>
          <p:cNvSpPr/>
          <p:nvPr/>
        </p:nvSpPr>
        <p:spPr>
          <a:xfrm>
            <a:off x="3897630" y="3472180"/>
            <a:ext cx="1855470" cy="399415"/>
          </a:xfrm>
          <a:prstGeom prst="roundRect">
            <a:avLst>
              <a:gd name="adj" fmla="val 50000"/>
            </a:avLst>
          </a:prstGeom>
          <a:solidFill>
            <a:srgbClr val="88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zh-CN" altLang="en-US" sz="1600">
                <a:solidFill>
                  <a:schemeClr val="bg1"/>
                </a:solidFill>
                <a:latin typeface="汉仪大宋简"/>
                <a:ea typeface="汉仪大宋简"/>
              </a:rPr>
              <a:t>汇报人：张玲</a:t>
            </a:r>
            <a:endParaRPr lang="zh-CN" altLang="en-US" sz="1600">
              <a:solidFill>
                <a:schemeClr val="bg1"/>
              </a:solidFill>
              <a:latin typeface="汉仪大宋简"/>
              <a:ea typeface="汉仪大宋简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112135" y="2059940"/>
            <a:ext cx="4983480" cy="92202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 altLang="en-US" sz="5400" kern="1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cs typeface="Times New Roman" panose="02020603050405020304" pitchFamily="18" charset="0"/>
                <a:sym typeface="+mn-ea"/>
              </a:rPr>
              <a:t>全力以赴新优质</a:t>
            </a:r>
            <a:endParaRPr lang="zh-CN" altLang="en-US" sz="5400" kern="1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5" name="图片 4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1449705" cy="13169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889808" y="2454787"/>
            <a:ext cx="3364385" cy="112201"/>
          </a:xfrm>
          <a:prstGeom prst="rect">
            <a:avLst/>
          </a:prstGeom>
          <a:solidFill>
            <a:srgbClr val="88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-1402080" y="934720"/>
            <a:ext cx="477520" cy="477520"/>
          </a:xfrm>
          <a:prstGeom prst="ellipse">
            <a:avLst/>
          </a:prstGeom>
          <a:solidFill>
            <a:srgbClr val="C9D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-1402080" y="1554480"/>
            <a:ext cx="477520" cy="477520"/>
          </a:xfrm>
          <a:prstGeom prst="ellipse">
            <a:avLst/>
          </a:prstGeom>
          <a:solidFill>
            <a:srgbClr val="88B8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-1402080" y="2195922"/>
            <a:ext cx="477520" cy="477520"/>
          </a:xfrm>
          <a:prstGeom prst="ellipse">
            <a:avLst/>
          </a:prstGeom>
          <a:solidFill>
            <a:srgbClr val="516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-1402080" y="2787834"/>
            <a:ext cx="477520" cy="477520"/>
          </a:xfrm>
          <a:prstGeom prst="ellipse">
            <a:avLst/>
          </a:prstGeom>
          <a:solidFill>
            <a:srgbClr val="F2E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 bwMode="auto">
          <a:xfrm>
            <a:off x="3362960" y="1686737"/>
            <a:ext cx="2418080" cy="76835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44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ea"/>
              </a:rPr>
              <a:t>发展</a:t>
            </a:r>
            <a:r>
              <a:rPr lang="zh-CN" altLang="en-US" sz="44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ea"/>
              </a:rPr>
              <a:t>措施</a:t>
            </a:r>
            <a:endParaRPr lang="zh-CN" altLang="en-US" sz="44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  <a:sym typeface="+mn-ea"/>
            </a:endParaRPr>
          </a:p>
        </p:txBody>
      </p:sp>
      <p:pic>
        <p:nvPicPr>
          <p:cNvPr id="2" name="图片 1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文化建设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7" name="空心弧 6"/>
          <p:cNvSpPr/>
          <p:nvPr>
            <p:custDataLst>
              <p:tags r:id="rId1"/>
            </p:custDataLst>
          </p:nvPr>
        </p:nvSpPr>
        <p:spPr>
          <a:xfrm>
            <a:off x="-658486" y="1058474"/>
            <a:ext cx="1481818" cy="1481818"/>
          </a:xfrm>
          <a:prstGeom prst="blockArc">
            <a:avLst>
              <a:gd name="adj1" fmla="val 16102233"/>
              <a:gd name="adj2" fmla="val 656203"/>
              <a:gd name="adj3" fmla="val 10160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 dirty="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8" name="空心弧 7"/>
          <p:cNvSpPr/>
          <p:nvPr>
            <p:custDataLst>
              <p:tags r:id="rId2"/>
            </p:custDataLst>
          </p:nvPr>
        </p:nvSpPr>
        <p:spPr>
          <a:xfrm flipH="1" flipV="1">
            <a:off x="657245" y="1293094"/>
            <a:ext cx="1481818" cy="1481818"/>
          </a:xfrm>
          <a:prstGeom prst="blockArc">
            <a:avLst>
              <a:gd name="adj1" fmla="val 11661999"/>
              <a:gd name="adj2" fmla="val 645517"/>
              <a:gd name="adj3" fmla="val 10154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9" name="空心弧 8"/>
          <p:cNvSpPr/>
          <p:nvPr>
            <p:custDataLst>
              <p:tags r:id="rId3"/>
            </p:custDataLst>
          </p:nvPr>
        </p:nvSpPr>
        <p:spPr>
          <a:xfrm rot="2700000">
            <a:off x="1948919" y="1626966"/>
            <a:ext cx="1481818" cy="1481818"/>
          </a:xfrm>
          <a:prstGeom prst="blockArc">
            <a:avLst>
              <a:gd name="adj1" fmla="val 8912435"/>
              <a:gd name="adj2" fmla="val 645517"/>
              <a:gd name="adj3" fmla="val 10154"/>
            </a:avLst>
          </a:prstGeom>
          <a:solidFill>
            <a:srgbClr val="8590CA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0" name="空心弧 9"/>
          <p:cNvSpPr/>
          <p:nvPr>
            <p:custDataLst>
              <p:tags r:id="rId4"/>
            </p:custDataLst>
          </p:nvPr>
        </p:nvSpPr>
        <p:spPr>
          <a:xfrm rot="3120378" flipV="1">
            <a:off x="2676430" y="2741600"/>
            <a:ext cx="1481818" cy="1481818"/>
          </a:xfrm>
          <a:prstGeom prst="blockArc">
            <a:avLst>
              <a:gd name="adj1" fmla="val 10426104"/>
              <a:gd name="adj2" fmla="val 645517"/>
              <a:gd name="adj3" fmla="val 10154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1" name="空心弧 10"/>
          <p:cNvSpPr/>
          <p:nvPr>
            <p:custDataLst>
              <p:tags r:id="rId5"/>
            </p:custDataLst>
          </p:nvPr>
        </p:nvSpPr>
        <p:spPr>
          <a:xfrm rot="3023909" flipH="1">
            <a:off x="3664167" y="3636149"/>
            <a:ext cx="1481818" cy="1481818"/>
          </a:xfrm>
          <a:prstGeom prst="blockArc">
            <a:avLst>
              <a:gd name="adj1" fmla="val 13833344"/>
              <a:gd name="adj2" fmla="val 569579"/>
              <a:gd name="adj3" fmla="val 10136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2" name="椭圆 11"/>
          <p:cNvSpPr/>
          <p:nvPr>
            <p:custDataLst>
              <p:tags r:id="rId6"/>
            </p:custDataLst>
          </p:nvPr>
        </p:nvSpPr>
        <p:spPr>
          <a:xfrm>
            <a:off x="949797" y="1545815"/>
            <a:ext cx="896714" cy="896714"/>
          </a:xfrm>
          <a:prstGeom prst="ellipse">
            <a:avLst/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5" name="椭圆 4"/>
          <p:cNvSpPr/>
          <p:nvPr>
            <p:custDataLst>
              <p:tags r:id="rId7"/>
            </p:custDataLst>
          </p:nvPr>
        </p:nvSpPr>
        <p:spPr>
          <a:xfrm>
            <a:off x="2241355" y="1916219"/>
            <a:ext cx="903312" cy="903312"/>
          </a:xfrm>
          <a:prstGeom prst="ellipse">
            <a:avLst/>
          </a:prstGeom>
          <a:solidFill>
            <a:srgbClr val="8590CA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6" name="椭圆 5"/>
          <p:cNvSpPr/>
          <p:nvPr>
            <p:custDataLst>
              <p:tags r:id="rId8"/>
            </p:custDataLst>
          </p:nvPr>
        </p:nvSpPr>
        <p:spPr>
          <a:xfrm>
            <a:off x="2965682" y="3034796"/>
            <a:ext cx="903312" cy="903312"/>
          </a:xfrm>
          <a:prstGeom prst="ellipse">
            <a:avLst/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ysClr val="windowText" lastClr="000000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4" name="文本框 13"/>
          <p:cNvSpPr txBox="1"/>
          <p:nvPr>
            <p:custDataLst>
              <p:tags r:id="rId9"/>
            </p:custDataLst>
          </p:nvPr>
        </p:nvSpPr>
        <p:spPr>
          <a:xfrm>
            <a:off x="5235575" y="3041015"/>
            <a:ext cx="3914140" cy="580390"/>
          </a:xfrm>
          <a:prstGeom prst="rect">
            <a:avLst/>
          </a:prstGeom>
        </p:spPr>
        <p:txBody>
          <a:bodyPr wrap="square" anchor="ctr" anchorCtr="0"/>
          <a:lstStyle>
            <a:defPPr>
              <a:defRPr lang="zh-CN"/>
            </a:defPPr>
          </a:lstStyle>
          <a:p>
            <a:pPr algn="l" fontAlgn="auto">
              <a:lnSpc>
                <a:spcPct val="130000"/>
              </a:lnSpc>
            </a:pPr>
            <a:r>
              <a:rPr lang="zh-CN" altLang="en-US" spc="150" dirty="0">
                <a:solidFill>
                  <a:srgbClr val="FFC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环境文化</a:t>
            </a:r>
            <a:r>
              <a:rPr lang="zh-CN" altLang="en-US" spc="15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：智慧人生，乐享科技</a:t>
            </a:r>
            <a:endParaRPr lang="zh-CN" altLang="en-US" spc="150" dirty="0">
              <a:solidFill>
                <a:sysClr val="windowText" lastClr="000000">
                  <a:lumMod val="75000"/>
                  <a:lumOff val="25000"/>
                </a:sysClr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5" name="圆角矩形 35"/>
          <p:cNvSpPr/>
          <p:nvPr>
            <p:custDataLst>
              <p:tags r:id="rId10"/>
            </p:custDataLst>
          </p:nvPr>
        </p:nvSpPr>
        <p:spPr>
          <a:xfrm>
            <a:off x="4555992" y="3041305"/>
            <a:ext cx="580549" cy="580073"/>
          </a:xfrm>
          <a:prstGeom prst="roundRect">
            <a:avLst>
              <a:gd name="adj" fmla="val 50000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>
            <a:normAutofit fontScale="90000" lnSpcReduction="1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100" dirty="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3</a:t>
            </a:r>
            <a:endParaRPr lang="zh-CN" altLang="en-US" sz="2100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>
            <p:custDataLst>
              <p:tags r:id="rId11"/>
            </p:custDataLst>
          </p:nvPr>
        </p:nvSpPr>
        <p:spPr>
          <a:xfrm>
            <a:off x="4457065" y="2043430"/>
            <a:ext cx="3924300" cy="58039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defPPr>
              <a:defRPr lang="zh-CN"/>
            </a:defPPr>
          </a:lstStyle>
          <a:p>
            <a:pPr algn="l" fontAlgn="auto">
              <a:lnSpc>
                <a:spcPct val="130000"/>
              </a:lnSpc>
            </a:pPr>
            <a:r>
              <a:rPr lang="zh-CN" altLang="en-US" spc="150" dirty="0">
                <a:solidFill>
                  <a:srgbClr val="FFC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教研组文化</a:t>
            </a:r>
            <a:r>
              <a:rPr lang="zh-CN" altLang="en-US" spc="15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：敬业乐教，乐学力行</a:t>
            </a:r>
            <a:endParaRPr lang="zh-CN" altLang="en-US" spc="150" dirty="0">
              <a:solidFill>
                <a:sysClr val="windowText" lastClr="000000">
                  <a:lumMod val="75000"/>
                  <a:lumOff val="25000"/>
                </a:sysClr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2" name="圆角矩形 34"/>
          <p:cNvSpPr/>
          <p:nvPr>
            <p:custDataLst>
              <p:tags r:id="rId12"/>
            </p:custDataLst>
          </p:nvPr>
        </p:nvSpPr>
        <p:spPr>
          <a:xfrm>
            <a:off x="3686836" y="2067738"/>
            <a:ext cx="580549" cy="580073"/>
          </a:xfrm>
          <a:prstGeom prst="roundRect">
            <a:avLst>
              <a:gd name="adj" fmla="val 50000"/>
            </a:avLst>
          </a:prstGeom>
          <a:solidFill>
            <a:srgbClr val="8590CA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>
            <a:normAutofit fontScale="90000" lnSpcReduction="1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100" dirty="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2</a:t>
            </a:r>
            <a:endParaRPr lang="zh-CN" altLang="en-US" sz="2100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>
            <p:custDataLst>
              <p:tags r:id="rId13"/>
            </p:custDataLst>
          </p:nvPr>
        </p:nvSpPr>
        <p:spPr>
          <a:xfrm>
            <a:off x="4042436" y="1045910"/>
            <a:ext cx="2730341" cy="580073"/>
          </a:xfrm>
          <a:prstGeom prst="rect">
            <a:avLst/>
          </a:prstGeom>
        </p:spPr>
        <p:txBody>
          <a:bodyPr wrap="square" anchor="ctr" anchorCtr="0">
            <a:normAutofit/>
          </a:bodyPr>
          <a:lstStyle>
            <a:defPPr>
              <a:defRPr lang="zh-CN"/>
            </a:defPPr>
          </a:lstStyle>
          <a:p>
            <a:pPr algn="l" fontAlgn="auto">
              <a:lnSpc>
                <a:spcPct val="130000"/>
              </a:lnSpc>
            </a:pPr>
            <a:r>
              <a:rPr lang="zh-CN" altLang="en-US" spc="150" dirty="0">
                <a:solidFill>
                  <a:srgbClr val="FFC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学科文化</a:t>
            </a:r>
            <a:r>
              <a:rPr lang="zh-CN" altLang="en-US" spc="15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：“玩·创”</a:t>
            </a:r>
            <a:endParaRPr lang="zh-CN" altLang="en-US" spc="150" dirty="0">
              <a:solidFill>
                <a:sysClr val="windowText" lastClr="000000">
                  <a:lumMod val="75000"/>
                  <a:lumOff val="25000"/>
                </a:sysClr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3" name="圆角矩形 30"/>
          <p:cNvSpPr/>
          <p:nvPr>
            <p:custDataLst>
              <p:tags r:id="rId14"/>
            </p:custDataLst>
          </p:nvPr>
        </p:nvSpPr>
        <p:spPr>
          <a:xfrm>
            <a:off x="3078506" y="1078295"/>
            <a:ext cx="580549" cy="580073"/>
          </a:xfrm>
          <a:prstGeom prst="roundRect">
            <a:avLst>
              <a:gd name="adj" fmla="val 50000"/>
            </a:avLst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>
            <a:normAutofit fontScale="90000" lnSpcReduction="10000"/>
          </a:bodyPr>
          <a:lstStyle/>
          <a:p>
            <a:pPr algn="ctr">
              <a:lnSpc>
                <a:spcPct val="120000"/>
              </a:lnSpc>
            </a:pPr>
            <a:r>
              <a:rPr lang="en-US" altLang="zh-CN" sz="2100" dirty="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1</a:t>
            </a:r>
            <a:endParaRPr lang="zh-CN" altLang="en-US" sz="2100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pic>
        <p:nvPicPr>
          <p:cNvPr id="19" name="图片 18" descr="32313539373030393b32313539363934323bb2e9d5d2cec4bcfe"/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97915" y="1733550"/>
            <a:ext cx="601345" cy="601345"/>
          </a:xfrm>
          <a:prstGeom prst="rect">
            <a:avLst/>
          </a:prstGeom>
        </p:spPr>
      </p:pic>
      <p:pic>
        <p:nvPicPr>
          <p:cNvPr id="28" name="图片 27" descr="32313539373030393b32313539363934333bb5e7c4d4b0ecb9ab"/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477135" y="2067560"/>
            <a:ext cx="601345" cy="601345"/>
          </a:xfrm>
          <a:prstGeom prst="rect">
            <a:avLst/>
          </a:prstGeom>
        </p:spPr>
      </p:pic>
      <p:pic>
        <p:nvPicPr>
          <p:cNvPr id="34" name="图片 33" descr="32313539373030393b32313539363934353bcffbcfa2"/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267710" y="3259455"/>
            <a:ext cx="601345" cy="601345"/>
          </a:xfrm>
          <a:prstGeom prst="rect">
            <a:avLst/>
          </a:prstGeom>
        </p:spPr>
      </p:pic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478395" y="3621405"/>
            <a:ext cx="1804670" cy="1910715"/>
          </a:xfrm>
          <a:prstGeom prst="rect">
            <a:avLst/>
          </a:prstGeom>
        </p:spPr>
      </p:pic>
      <p:pic>
        <p:nvPicPr>
          <p:cNvPr id="3" name="图片 2" descr="logo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3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58" name="椭圆 57"/>
          <p:cNvSpPr/>
          <p:nvPr>
            <p:custDataLst>
              <p:tags r:id="rId1"/>
            </p:custDataLst>
          </p:nvPr>
        </p:nvSpPr>
        <p:spPr>
          <a:xfrm>
            <a:off x="3104981" y="1442551"/>
            <a:ext cx="2389207" cy="2389206"/>
          </a:xfrm>
          <a:prstGeom prst="ellipse">
            <a:avLst/>
          </a:prstGeom>
          <a:noFill/>
          <a:ln w="25400">
            <a:solidFill>
              <a:sysClr val="window" lastClr="FFFFFF">
                <a:lumMod val="85000"/>
              </a:sysClr>
            </a:solidFill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24" name="椭圆 23"/>
          <p:cNvSpPr/>
          <p:nvPr>
            <p:custDataLst>
              <p:tags r:id="rId2"/>
            </p:custDataLst>
          </p:nvPr>
        </p:nvSpPr>
        <p:spPr>
          <a:xfrm>
            <a:off x="3409488" y="1747058"/>
            <a:ext cx="1780193" cy="1780193"/>
          </a:xfrm>
          <a:prstGeom prst="ellipse">
            <a:avLst/>
          </a:prstGeom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25" name="椭圆 24"/>
          <p:cNvSpPr/>
          <p:nvPr>
            <p:custDataLst>
              <p:tags r:id="rId3"/>
            </p:custDataLst>
          </p:nvPr>
        </p:nvSpPr>
        <p:spPr>
          <a:xfrm rot="3600000">
            <a:off x="3117663" y="1674153"/>
            <a:ext cx="438872" cy="438871"/>
          </a:xfrm>
          <a:prstGeom prst="ellipse">
            <a:avLst/>
          </a:prstGeom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26" name="KSO_Shape"/>
          <p:cNvSpPr/>
          <p:nvPr>
            <p:custDataLst>
              <p:tags r:id="rId4"/>
            </p:custDataLst>
          </p:nvPr>
        </p:nvSpPr>
        <p:spPr>
          <a:xfrm>
            <a:off x="3231911" y="1795588"/>
            <a:ext cx="210375" cy="195999"/>
          </a:xfrm>
          <a:custGeom>
            <a:avLst/>
            <a:gdLst/>
            <a:ahLst/>
            <a:cxnLst/>
            <a:rect l="l" t="t" r="r" b="b"/>
            <a:pathLst>
              <a:path w="969654" h="903534">
                <a:moveTo>
                  <a:pt x="813088" y="487443"/>
                </a:moveTo>
                <a:cubicBezTo>
                  <a:pt x="793206" y="487443"/>
                  <a:pt x="777088" y="503561"/>
                  <a:pt x="777088" y="523443"/>
                </a:cubicBezTo>
                <a:cubicBezTo>
                  <a:pt x="777088" y="543325"/>
                  <a:pt x="793206" y="559443"/>
                  <a:pt x="813088" y="559443"/>
                </a:cubicBezTo>
                <a:cubicBezTo>
                  <a:pt x="832970" y="559443"/>
                  <a:pt x="849088" y="543325"/>
                  <a:pt x="849088" y="523443"/>
                </a:cubicBezTo>
                <a:cubicBezTo>
                  <a:pt x="849088" y="503561"/>
                  <a:pt x="832970" y="487443"/>
                  <a:pt x="813088" y="487443"/>
                </a:cubicBezTo>
                <a:close/>
                <a:moveTo>
                  <a:pt x="606961" y="487443"/>
                </a:moveTo>
                <a:cubicBezTo>
                  <a:pt x="587079" y="487443"/>
                  <a:pt x="570961" y="503561"/>
                  <a:pt x="570961" y="523443"/>
                </a:cubicBezTo>
                <a:cubicBezTo>
                  <a:pt x="570961" y="543325"/>
                  <a:pt x="587079" y="559443"/>
                  <a:pt x="606961" y="559443"/>
                </a:cubicBezTo>
                <a:cubicBezTo>
                  <a:pt x="626843" y="559443"/>
                  <a:pt x="642961" y="543325"/>
                  <a:pt x="642961" y="523443"/>
                </a:cubicBezTo>
                <a:cubicBezTo>
                  <a:pt x="642961" y="503561"/>
                  <a:pt x="626843" y="487443"/>
                  <a:pt x="606961" y="487443"/>
                </a:cubicBezTo>
                <a:close/>
                <a:moveTo>
                  <a:pt x="691345" y="336511"/>
                </a:moveTo>
                <a:cubicBezTo>
                  <a:pt x="769490" y="335080"/>
                  <a:pt x="847112" y="364668"/>
                  <a:pt x="901758" y="422110"/>
                </a:cubicBezTo>
                <a:cubicBezTo>
                  <a:pt x="999759" y="525126"/>
                  <a:pt x="990612" y="681640"/>
                  <a:pt x="881173" y="774306"/>
                </a:cubicBezTo>
                <a:lnTo>
                  <a:pt x="905846" y="903534"/>
                </a:lnTo>
                <a:lnTo>
                  <a:pt x="792422" y="824563"/>
                </a:lnTo>
                <a:cubicBezTo>
                  <a:pt x="666952" y="867914"/>
                  <a:pt x="525982" y="820668"/>
                  <a:pt x="459770" y="713074"/>
                </a:cubicBezTo>
                <a:cubicBezTo>
                  <a:pt x="386891" y="594648"/>
                  <a:pt x="429055" y="444146"/>
                  <a:pt x="554971" y="373268"/>
                </a:cubicBezTo>
                <a:cubicBezTo>
                  <a:pt x="597384" y="349394"/>
                  <a:pt x="644458" y="337369"/>
                  <a:pt x="691345" y="336511"/>
                </a:cubicBezTo>
                <a:close/>
                <a:moveTo>
                  <a:pt x="547874" y="187267"/>
                </a:moveTo>
                <a:cubicBezTo>
                  <a:pt x="518051" y="187267"/>
                  <a:pt x="493874" y="211444"/>
                  <a:pt x="493874" y="241267"/>
                </a:cubicBezTo>
                <a:cubicBezTo>
                  <a:pt x="493874" y="271090"/>
                  <a:pt x="518051" y="295267"/>
                  <a:pt x="547874" y="295267"/>
                </a:cubicBezTo>
                <a:cubicBezTo>
                  <a:pt x="577697" y="295267"/>
                  <a:pt x="601874" y="271090"/>
                  <a:pt x="601874" y="241267"/>
                </a:cubicBezTo>
                <a:cubicBezTo>
                  <a:pt x="601874" y="211444"/>
                  <a:pt x="577697" y="187267"/>
                  <a:pt x="547874" y="187267"/>
                </a:cubicBezTo>
                <a:close/>
                <a:moveTo>
                  <a:pt x="294449" y="187267"/>
                </a:moveTo>
                <a:cubicBezTo>
                  <a:pt x="264626" y="187267"/>
                  <a:pt x="240449" y="211444"/>
                  <a:pt x="240449" y="241267"/>
                </a:cubicBezTo>
                <a:cubicBezTo>
                  <a:pt x="240449" y="271090"/>
                  <a:pt x="264626" y="295267"/>
                  <a:pt x="294449" y="295267"/>
                </a:cubicBezTo>
                <a:cubicBezTo>
                  <a:pt x="324272" y="295267"/>
                  <a:pt x="348449" y="271090"/>
                  <a:pt x="348449" y="241267"/>
                </a:cubicBezTo>
                <a:cubicBezTo>
                  <a:pt x="348449" y="211444"/>
                  <a:pt x="324272" y="187267"/>
                  <a:pt x="294449" y="187267"/>
                </a:cubicBezTo>
                <a:close/>
                <a:moveTo>
                  <a:pt x="408549" y="168"/>
                </a:moveTo>
                <a:cubicBezTo>
                  <a:pt x="456533" y="-1113"/>
                  <a:pt x="505397" y="4870"/>
                  <a:pt x="553141" y="18800"/>
                </a:cubicBezTo>
                <a:cubicBezTo>
                  <a:pt x="730896" y="70663"/>
                  <a:pt x="843952" y="217556"/>
                  <a:pt x="840274" y="375462"/>
                </a:cubicBezTo>
                <a:cubicBezTo>
                  <a:pt x="754752" y="310337"/>
                  <a:pt x="632797" y="302687"/>
                  <a:pt x="535419" y="357502"/>
                </a:cubicBezTo>
                <a:cubicBezTo>
                  <a:pt x="409503" y="428380"/>
                  <a:pt x="367339" y="578882"/>
                  <a:pt x="440218" y="697308"/>
                </a:cubicBezTo>
                <a:cubicBezTo>
                  <a:pt x="450352" y="713775"/>
                  <a:pt x="462237" y="728829"/>
                  <a:pt x="478397" y="739559"/>
                </a:cubicBezTo>
                <a:cubicBezTo>
                  <a:pt x="442192" y="745523"/>
                  <a:pt x="404623" y="745773"/>
                  <a:pt x="366675" y="741395"/>
                </a:cubicBezTo>
                <a:lnTo>
                  <a:pt x="245711" y="837584"/>
                </a:lnTo>
                <a:lnTo>
                  <a:pt x="214226" y="696474"/>
                </a:lnTo>
                <a:cubicBezTo>
                  <a:pt x="11680" y="595442"/>
                  <a:pt x="-59861" y="368389"/>
                  <a:pt x="54436" y="189343"/>
                </a:cubicBezTo>
                <a:cubicBezTo>
                  <a:pt x="128564" y="73222"/>
                  <a:pt x="264598" y="4010"/>
                  <a:pt x="408549" y="168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rgbClr val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0" name="椭圆 29"/>
          <p:cNvSpPr/>
          <p:nvPr>
            <p:custDataLst>
              <p:tags r:id="rId5"/>
            </p:custDataLst>
          </p:nvPr>
        </p:nvSpPr>
        <p:spPr>
          <a:xfrm>
            <a:off x="3117662" y="3117931"/>
            <a:ext cx="438872" cy="438872"/>
          </a:xfrm>
          <a:prstGeom prst="ellipse">
            <a:avLst/>
          </a:prstGeom>
          <a:solidFill>
            <a:srgbClr val="7AC2C7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1" name="KSO_Shape"/>
          <p:cNvSpPr/>
          <p:nvPr>
            <p:custDataLst>
              <p:tags r:id="rId6"/>
            </p:custDataLst>
          </p:nvPr>
        </p:nvSpPr>
        <p:spPr>
          <a:xfrm>
            <a:off x="3249044" y="3233074"/>
            <a:ext cx="173126" cy="208584"/>
          </a:xfrm>
          <a:custGeom>
            <a:avLst/>
            <a:gdLst/>
            <a:ahLst/>
            <a:cxnLst/>
            <a:rect l="l" t="t" r="r" b="b"/>
            <a:pathLst>
              <a:path w="1674290" h="2018114">
                <a:moveTo>
                  <a:pt x="307141" y="691642"/>
                </a:moveTo>
                <a:lnTo>
                  <a:pt x="1378912" y="691642"/>
                </a:lnTo>
                <a:lnTo>
                  <a:pt x="1369387" y="1458335"/>
                </a:lnTo>
                <a:cubicBezTo>
                  <a:pt x="1369387" y="1541769"/>
                  <a:pt x="1301750" y="1609406"/>
                  <a:pt x="1218316" y="1609406"/>
                </a:cubicBezTo>
                <a:lnTo>
                  <a:pt x="1158892" y="1609406"/>
                </a:lnTo>
                <a:lnTo>
                  <a:pt x="1158892" y="1898352"/>
                </a:lnTo>
                <a:cubicBezTo>
                  <a:pt x="1158892" y="1964495"/>
                  <a:pt x="1105273" y="2018114"/>
                  <a:pt x="1039130" y="2018114"/>
                </a:cubicBezTo>
                <a:cubicBezTo>
                  <a:pt x="972987" y="2018114"/>
                  <a:pt x="919368" y="1964495"/>
                  <a:pt x="919368" y="1898352"/>
                </a:cubicBezTo>
                <a:lnTo>
                  <a:pt x="919368" y="1609406"/>
                </a:lnTo>
                <a:lnTo>
                  <a:pt x="765901" y="1609406"/>
                </a:lnTo>
                <a:lnTo>
                  <a:pt x="765901" y="1898351"/>
                </a:lnTo>
                <a:cubicBezTo>
                  <a:pt x="765901" y="1964494"/>
                  <a:pt x="712282" y="2018113"/>
                  <a:pt x="646139" y="2018113"/>
                </a:cubicBezTo>
                <a:cubicBezTo>
                  <a:pt x="579996" y="2018113"/>
                  <a:pt x="526377" y="1964494"/>
                  <a:pt x="526377" y="1898351"/>
                </a:cubicBezTo>
                <a:lnTo>
                  <a:pt x="526377" y="1609406"/>
                </a:lnTo>
                <a:lnTo>
                  <a:pt x="458213" y="1609406"/>
                </a:lnTo>
                <a:cubicBezTo>
                  <a:pt x="374779" y="1609406"/>
                  <a:pt x="307141" y="1541769"/>
                  <a:pt x="307141" y="1458335"/>
                </a:cubicBezTo>
                <a:lnTo>
                  <a:pt x="307141" y="1156202"/>
                </a:lnTo>
                <a:lnTo>
                  <a:pt x="307141" y="854070"/>
                </a:lnTo>
                <a:close/>
                <a:moveTo>
                  <a:pt x="1554528" y="683951"/>
                </a:moveTo>
                <a:cubicBezTo>
                  <a:pt x="1620671" y="683951"/>
                  <a:pt x="1674290" y="737570"/>
                  <a:pt x="1674290" y="803713"/>
                </a:cubicBezTo>
                <a:lnTo>
                  <a:pt x="1674290" y="1299148"/>
                </a:lnTo>
                <a:cubicBezTo>
                  <a:pt x="1674290" y="1365291"/>
                  <a:pt x="1620671" y="1418910"/>
                  <a:pt x="1554528" y="1418910"/>
                </a:cubicBezTo>
                <a:cubicBezTo>
                  <a:pt x="1488385" y="1418910"/>
                  <a:pt x="1434766" y="1365291"/>
                  <a:pt x="1434766" y="1299148"/>
                </a:cubicBezTo>
                <a:lnTo>
                  <a:pt x="1434766" y="803713"/>
                </a:lnTo>
                <a:cubicBezTo>
                  <a:pt x="1434766" y="737570"/>
                  <a:pt x="1488385" y="683951"/>
                  <a:pt x="1554528" y="683951"/>
                </a:cubicBezTo>
                <a:close/>
                <a:moveTo>
                  <a:pt x="119762" y="683950"/>
                </a:moveTo>
                <a:cubicBezTo>
                  <a:pt x="185905" y="683950"/>
                  <a:pt x="239524" y="737569"/>
                  <a:pt x="239524" y="803712"/>
                </a:cubicBezTo>
                <a:lnTo>
                  <a:pt x="239524" y="1299147"/>
                </a:lnTo>
                <a:cubicBezTo>
                  <a:pt x="239524" y="1365290"/>
                  <a:pt x="185905" y="1418909"/>
                  <a:pt x="119762" y="1418909"/>
                </a:cubicBezTo>
                <a:cubicBezTo>
                  <a:pt x="53619" y="1418909"/>
                  <a:pt x="0" y="1365290"/>
                  <a:pt x="0" y="1299147"/>
                </a:cubicBezTo>
                <a:lnTo>
                  <a:pt x="0" y="803712"/>
                </a:lnTo>
                <a:cubicBezTo>
                  <a:pt x="0" y="737569"/>
                  <a:pt x="53619" y="683950"/>
                  <a:pt x="119762" y="683950"/>
                </a:cubicBezTo>
                <a:close/>
                <a:moveTo>
                  <a:pt x="1058285" y="381191"/>
                </a:moveTo>
                <a:cubicBezTo>
                  <a:pt x="1028091" y="381191"/>
                  <a:pt x="1003614" y="405668"/>
                  <a:pt x="1003614" y="435862"/>
                </a:cubicBezTo>
                <a:cubicBezTo>
                  <a:pt x="1003614" y="466056"/>
                  <a:pt x="1028091" y="490533"/>
                  <a:pt x="1058285" y="490533"/>
                </a:cubicBezTo>
                <a:cubicBezTo>
                  <a:pt x="1088479" y="490533"/>
                  <a:pt x="1112956" y="466056"/>
                  <a:pt x="1112956" y="435862"/>
                </a:cubicBezTo>
                <a:cubicBezTo>
                  <a:pt x="1112956" y="405668"/>
                  <a:pt x="1088479" y="381191"/>
                  <a:pt x="1058285" y="381191"/>
                </a:cubicBezTo>
                <a:close/>
                <a:moveTo>
                  <a:pt x="620445" y="381191"/>
                </a:moveTo>
                <a:cubicBezTo>
                  <a:pt x="590251" y="381191"/>
                  <a:pt x="565774" y="405668"/>
                  <a:pt x="565774" y="435862"/>
                </a:cubicBezTo>
                <a:cubicBezTo>
                  <a:pt x="565774" y="466056"/>
                  <a:pt x="590251" y="490533"/>
                  <a:pt x="620445" y="490533"/>
                </a:cubicBezTo>
                <a:cubicBezTo>
                  <a:pt x="650639" y="490533"/>
                  <a:pt x="675116" y="466056"/>
                  <a:pt x="675116" y="435862"/>
                </a:cubicBezTo>
                <a:cubicBezTo>
                  <a:pt x="675116" y="405668"/>
                  <a:pt x="650639" y="381191"/>
                  <a:pt x="620445" y="381191"/>
                </a:cubicBezTo>
                <a:close/>
                <a:moveTo>
                  <a:pt x="508384" y="1373"/>
                </a:moveTo>
                <a:cubicBezTo>
                  <a:pt x="515956" y="3701"/>
                  <a:pt x="522639" y="8917"/>
                  <a:pt x="526639" y="16470"/>
                </a:cubicBezTo>
                <a:lnTo>
                  <a:pt x="615978" y="185144"/>
                </a:lnTo>
                <a:cubicBezTo>
                  <a:pt x="687009" y="148129"/>
                  <a:pt x="767930" y="128483"/>
                  <a:pt x="853439" y="128483"/>
                </a:cubicBezTo>
                <a:cubicBezTo>
                  <a:pt x="932860" y="128483"/>
                  <a:pt x="1008322" y="145431"/>
                  <a:pt x="1075718" y="177325"/>
                </a:cubicBezTo>
                <a:lnTo>
                  <a:pt x="1150798" y="40824"/>
                </a:lnTo>
                <a:cubicBezTo>
                  <a:pt x="1154917" y="33335"/>
                  <a:pt x="1161682" y="28224"/>
                  <a:pt x="1169289" y="26016"/>
                </a:cubicBezTo>
                <a:cubicBezTo>
                  <a:pt x="1176896" y="23808"/>
                  <a:pt x="1185346" y="24501"/>
                  <a:pt x="1192835" y="28621"/>
                </a:cubicBezTo>
                <a:cubicBezTo>
                  <a:pt x="1207813" y="36859"/>
                  <a:pt x="1213277" y="55680"/>
                  <a:pt x="1205038" y="70658"/>
                </a:cubicBezTo>
                <a:lnTo>
                  <a:pt x="1130773" y="205677"/>
                </a:lnTo>
                <a:cubicBezTo>
                  <a:pt x="1280708" y="293097"/>
                  <a:pt x="1383706" y="450928"/>
                  <a:pt x="1395615" y="633899"/>
                </a:cubicBezTo>
                <a:lnTo>
                  <a:pt x="311263" y="633899"/>
                </a:lnTo>
                <a:cubicBezTo>
                  <a:pt x="322782" y="456918"/>
                  <a:pt x="419524" y="303459"/>
                  <a:pt x="560939" y="213488"/>
                </a:cubicBezTo>
                <a:lnTo>
                  <a:pt x="471935" y="45445"/>
                </a:lnTo>
                <a:cubicBezTo>
                  <a:pt x="463934" y="30339"/>
                  <a:pt x="469694" y="11606"/>
                  <a:pt x="484800" y="3605"/>
                </a:cubicBezTo>
                <a:cubicBezTo>
                  <a:pt x="492353" y="-395"/>
                  <a:pt x="500812" y="-955"/>
                  <a:pt x="508384" y="1373"/>
                </a:cubicBezTo>
                <a:close/>
              </a:path>
            </a:pathLst>
          </a:custGeom>
          <a:solidFill>
            <a:sysClr val="window" lastClr="FFFFFF"/>
          </a:solidFill>
          <a:ln w="12700"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lnSpc>
                <a:spcPct val="120000"/>
              </a:lnSpc>
            </a:pPr>
            <a:endParaRPr lang="zh-CN" altLang="en-US" sz="1350" dirty="0">
              <a:solidFill>
                <a:srgbClr val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6" name="矩形 35"/>
          <p:cNvSpPr/>
          <p:nvPr>
            <p:custDataLst>
              <p:tags r:id="rId7"/>
            </p:custDataLst>
          </p:nvPr>
        </p:nvSpPr>
        <p:spPr>
          <a:xfrm>
            <a:off x="195580" y="1310005"/>
            <a:ext cx="2830195" cy="883285"/>
          </a:xfrm>
          <a:prstGeom prst="rect">
            <a:avLst/>
          </a:prstGeom>
        </p:spPr>
        <p:txBody>
          <a:bodyPr wrap="square" lIns="68580" tIns="34290" rIns="68580" bIns="0" anchor="b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2000" kern="0" dirty="0">
                <a:sym typeface="Arial" panose="020B0604020202020204" pitchFamily="34" charset="0"/>
              </a:rPr>
              <a:t>    </a:t>
            </a:r>
            <a:r>
              <a:rPr lang="zh-CN" altLang="da-DK" sz="2000" kern="0" dirty="0">
                <a:sym typeface="Arial" panose="020B0604020202020204" pitchFamily="34" charset="0"/>
              </a:rPr>
              <a:t>积极参加各级平台专家讲座学习。</a:t>
            </a:r>
            <a:endParaRPr lang="zh-CN" altLang="da-DK" sz="2000" kern="0" dirty="0">
              <a:sym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zh-CN" altLang="da-DK" sz="1100" kern="0" dirty="0">
              <a:sym typeface="Arial" panose="020B0604020202020204" pitchFamily="34" charset="0"/>
            </a:endParaRPr>
          </a:p>
        </p:txBody>
      </p:sp>
      <p:sp>
        <p:nvSpPr>
          <p:cNvPr id="38" name="矩形 37"/>
          <p:cNvSpPr/>
          <p:nvPr>
            <p:custDataLst>
              <p:tags r:id="rId8"/>
            </p:custDataLst>
          </p:nvPr>
        </p:nvSpPr>
        <p:spPr>
          <a:xfrm>
            <a:off x="214630" y="2922270"/>
            <a:ext cx="2811145" cy="724535"/>
          </a:xfrm>
          <a:prstGeom prst="rect">
            <a:avLst/>
          </a:prstGeom>
        </p:spPr>
        <p:txBody>
          <a:bodyPr wrap="square" lIns="68580" tIns="34290" rIns="68580" bIns="0" anchor="b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900" kern="0" dirty="0">
                <a:sym typeface="Arial" panose="020B0604020202020204" pitchFamily="34" charset="0"/>
              </a:rPr>
              <a:t>    </a:t>
            </a:r>
            <a:r>
              <a:rPr lang="zh-CN" altLang="da-DK" sz="1900" kern="0" dirty="0">
                <a:sym typeface="Arial" panose="020B0604020202020204" pitchFamily="34" charset="0"/>
              </a:rPr>
              <a:t>加深专业领域发展，促进专业新教师发展。</a:t>
            </a:r>
            <a:endParaRPr lang="zh-CN" altLang="da-DK" sz="1300" b="1" kern="0" spc="300" dirty="0">
              <a:solidFill>
                <a:srgbClr val="7AC2C7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0" name="矩形 39"/>
          <p:cNvSpPr/>
          <p:nvPr>
            <p:custDataLst>
              <p:tags r:id="rId9"/>
            </p:custDataLst>
          </p:nvPr>
        </p:nvSpPr>
        <p:spPr>
          <a:xfrm>
            <a:off x="3612501" y="2137201"/>
            <a:ext cx="1374170" cy="999908"/>
          </a:xfrm>
          <a:prstGeom prst="rect">
            <a:avLst/>
          </a:prstGeom>
        </p:spPr>
        <p:txBody>
          <a:bodyPr wrap="square" anchor="ctr" anchorCtr="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提升</a:t>
            </a:r>
            <a:r>
              <a:rPr lang="zh-CN" altLang="en-US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教师</a:t>
            </a:r>
            <a:endParaRPr lang="zh-CN" altLang="en-US" b="1" spc="30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zh-CN" altLang="en-US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理论</a:t>
            </a:r>
            <a:r>
              <a:rPr lang="zh-CN" altLang="en-US" b="1" spc="30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素养</a:t>
            </a:r>
            <a:endParaRPr lang="zh-CN" altLang="en-US" b="1" spc="30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1" name="椭圆 40"/>
          <p:cNvSpPr/>
          <p:nvPr>
            <p:custDataLst>
              <p:tags r:id="rId10"/>
            </p:custDataLst>
          </p:nvPr>
        </p:nvSpPr>
        <p:spPr>
          <a:xfrm>
            <a:off x="5283474" y="2381923"/>
            <a:ext cx="438872" cy="438872"/>
          </a:xfrm>
          <a:prstGeom prst="ellipse">
            <a:avLst/>
          </a:prstGeom>
          <a:solidFill>
            <a:srgbClr val="8EAADC"/>
          </a:solidFill>
          <a:ln>
            <a:noFill/>
          </a:ln>
        </p:spPr>
        <p:style>
          <a:lnRef idx="2">
            <a:srgbClr val="8590CA">
              <a:shade val="50000"/>
            </a:srgbClr>
          </a:lnRef>
          <a:fillRef idx="1">
            <a:srgbClr val="8590CA"/>
          </a:fillRef>
          <a:effectRef idx="0">
            <a:srgbClr val="8590CA"/>
          </a:effectRef>
          <a:fontRef idx="minor">
            <a:sysClr val="window" lastClr="FFFFFF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zh-CN" altLang="en-US" sz="135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2" name="KSO_Shape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6026" y="2515633"/>
            <a:ext cx="173768" cy="171452"/>
          </a:xfrm>
          <a:custGeom>
            <a:avLst/>
            <a:gdLst/>
            <a:ahLst/>
            <a:cxnLst/>
            <a:rect l="0" t="0" r="r" b="b"/>
            <a:pathLst>
              <a:path w="1622425" h="1601788">
                <a:moveTo>
                  <a:pt x="1477962" y="927100"/>
                </a:moveTo>
                <a:lnTo>
                  <a:pt x="1622425" y="927100"/>
                </a:lnTo>
                <a:lnTo>
                  <a:pt x="1622425" y="1293813"/>
                </a:lnTo>
                <a:lnTo>
                  <a:pt x="1477962" y="1293813"/>
                </a:lnTo>
                <a:lnTo>
                  <a:pt x="1477962" y="927100"/>
                </a:lnTo>
                <a:close/>
                <a:moveTo>
                  <a:pt x="1477962" y="463550"/>
                </a:moveTo>
                <a:lnTo>
                  <a:pt x="1622425" y="463550"/>
                </a:lnTo>
                <a:lnTo>
                  <a:pt x="1622425" y="830263"/>
                </a:lnTo>
                <a:lnTo>
                  <a:pt x="1477962" y="830263"/>
                </a:lnTo>
                <a:lnTo>
                  <a:pt x="1477962" y="463550"/>
                </a:lnTo>
                <a:close/>
                <a:moveTo>
                  <a:pt x="871932" y="418865"/>
                </a:moveTo>
                <a:lnTo>
                  <a:pt x="866214" y="419183"/>
                </a:lnTo>
                <a:lnTo>
                  <a:pt x="859861" y="419183"/>
                </a:lnTo>
                <a:lnTo>
                  <a:pt x="848426" y="420453"/>
                </a:lnTo>
                <a:lnTo>
                  <a:pt x="837309" y="422359"/>
                </a:lnTo>
                <a:lnTo>
                  <a:pt x="826509" y="424582"/>
                </a:lnTo>
                <a:lnTo>
                  <a:pt x="815709" y="427440"/>
                </a:lnTo>
                <a:lnTo>
                  <a:pt x="805862" y="430298"/>
                </a:lnTo>
                <a:lnTo>
                  <a:pt x="796650" y="433473"/>
                </a:lnTo>
                <a:lnTo>
                  <a:pt x="787439" y="436649"/>
                </a:lnTo>
                <a:lnTo>
                  <a:pt x="771874" y="443000"/>
                </a:lnTo>
                <a:lnTo>
                  <a:pt x="766792" y="444906"/>
                </a:lnTo>
                <a:lnTo>
                  <a:pt x="762027" y="446811"/>
                </a:lnTo>
                <a:lnTo>
                  <a:pt x="757262" y="449034"/>
                </a:lnTo>
                <a:lnTo>
                  <a:pt x="752498" y="451257"/>
                </a:lnTo>
                <a:lnTo>
                  <a:pt x="748051" y="454115"/>
                </a:lnTo>
                <a:lnTo>
                  <a:pt x="743921" y="456655"/>
                </a:lnTo>
                <a:lnTo>
                  <a:pt x="739792" y="459831"/>
                </a:lnTo>
                <a:lnTo>
                  <a:pt x="735345" y="463324"/>
                </a:lnTo>
                <a:lnTo>
                  <a:pt x="731533" y="466817"/>
                </a:lnTo>
                <a:lnTo>
                  <a:pt x="728039" y="470628"/>
                </a:lnTo>
                <a:lnTo>
                  <a:pt x="724545" y="474757"/>
                </a:lnTo>
                <a:lnTo>
                  <a:pt x="721051" y="479202"/>
                </a:lnTo>
                <a:lnTo>
                  <a:pt x="718192" y="483966"/>
                </a:lnTo>
                <a:lnTo>
                  <a:pt x="715333" y="488729"/>
                </a:lnTo>
                <a:lnTo>
                  <a:pt x="712792" y="493810"/>
                </a:lnTo>
                <a:lnTo>
                  <a:pt x="710251" y="499526"/>
                </a:lnTo>
                <a:lnTo>
                  <a:pt x="708028" y="504925"/>
                </a:lnTo>
                <a:lnTo>
                  <a:pt x="706122" y="510959"/>
                </a:lnTo>
                <a:lnTo>
                  <a:pt x="704216" y="517310"/>
                </a:lnTo>
                <a:lnTo>
                  <a:pt x="702628" y="523979"/>
                </a:lnTo>
                <a:lnTo>
                  <a:pt x="701357" y="530648"/>
                </a:lnTo>
                <a:lnTo>
                  <a:pt x="700404" y="537952"/>
                </a:lnTo>
                <a:lnTo>
                  <a:pt x="699769" y="545256"/>
                </a:lnTo>
                <a:lnTo>
                  <a:pt x="699451" y="553512"/>
                </a:lnTo>
                <a:lnTo>
                  <a:pt x="699451" y="561451"/>
                </a:lnTo>
                <a:lnTo>
                  <a:pt x="699451" y="570025"/>
                </a:lnTo>
                <a:lnTo>
                  <a:pt x="700087" y="578600"/>
                </a:lnTo>
                <a:lnTo>
                  <a:pt x="700722" y="587809"/>
                </a:lnTo>
                <a:lnTo>
                  <a:pt x="701992" y="597018"/>
                </a:lnTo>
                <a:lnTo>
                  <a:pt x="703263" y="607180"/>
                </a:lnTo>
                <a:lnTo>
                  <a:pt x="705169" y="617025"/>
                </a:lnTo>
                <a:lnTo>
                  <a:pt x="707392" y="627504"/>
                </a:lnTo>
                <a:lnTo>
                  <a:pt x="708028" y="630998"/>
                </a:lnTo>
                <a:lnTo>
                  <a:pt x="708028" y="634173"/>
                </a:lnTo>
                <a:lnTo>
                  <a:pt x="707710" y="637666"/>
                </a:lnTo>
                <a:lnTo>
                  <a:pt x="707392" y="640524"/>
                </a:lnTo>
                <a:lnTo>
                  <a:pt x="706757" y="643065"/>
                </a:lnTo>
                <a:lnTo>
                  <a:pt x="705804" y="645605"/>
                </a:lnTo>
                <a:lnTo>
                  <a:pt x="703263" y="650051"/>
                </a:lnTo>
                <a:lnTo>
                  <a:pt x="701039" y="654815"/>
                </a:lnTo>
                <a:lnTo>
                  <a:pt x="699134" y="658626"/>
                </a:lnTo>
                <a:lnTo>
                  <a:pt x="698498" y="660531"/>
                </a:lnTo>
                <a:lnTo>
                  <a:pt x="697863" y="662436"/>
                </a:lnTo>
                <a:lnTo>
                  <a:pt x="697545" y="664342"/>
                </a:lnTo>
                <a:lnTo>
                  <a:pt x="697545" y="666247"/>
                </a:lnTo>
                <a:lnTo>
                  <a:pt x="699134" y="688794"/>
                </a:lnTo>
                <a:lnTo>
                  <a:pt x="700404" y="702132"/>
                </a:lnTo>
                <a:lnTo>
                  <a:pt x="701039" y="709436"/>
                </a:lnTo>
                <a:lnTo>
                  <a:pt x="702310" y="716104"/>
                </a:lnTo>
                <a:lnTo>
                  <a:pt x="703581" y="723408"/>
                </a:lnTo>
                <a:lnTo>
                  <a:pt x="705487" y="729760"/>
                </a:lnTo>
                <a:lnTo>
                  <a:pt x="707075" y="736111"/>
                </a:lnTo>
                <a:lnTo>
                  <a:pt x="709298" y="742145"/>
                </a:lnTo>
                <a:lnTo>
                  <a:pt x="711839" y="747226"/>
                </a:lnTo>
                <a:lnTo>
                  <a:pt x="714698" y="751989"/>
                </a:lnTo>
                <a:lnTo>
                  <a:pt x="716286" y="753894"/>
                </a:lnTo>
                <a:lnTo>
                  <a:pt x="718192" y="755800"/>
                </a:lnTo>
                <a:lnTo>
                  <a:pt x="719780" y="757705"/>
                </a:lnTo>
                <a:lnTo>
                  <a:pt x="722322" y="759293"/>
                </a:lnTo>
                <a:lnTo>
                  <a:pt x="725816" y="760563"/>
                </a:lnTo>
                <a:lnTo>
                  <a:pt x="731533" y="762151"/>
                </a:lnTo>
                <a:lnTo>
                  <a:pt x="736933" y="763104"/>
                </a:lnTo>
                <a:lnTo>
                  <a:pt x="738839" y="763421"/>
                </a:lnTo>
                <a:lnTo>
                  <a:pt x="739792" y="763104"/>
                </a:lnTo>
                <a:lnTo>
                  <a:pt x="745827" y="831062"/>
                </a:lnTo>
                <a:lnTo>
                  <a:pt x="747098" y="833603"/>
                </a:lnTo>
                <a:lnTo>
                  <a:pt x="748368" y="835826"/>
                </a:lnTo>
                <a:lnTo>
                  <a:pt x="749639" y="838049"/>
                </a:lnTo>
                <a:lnTo>
                  <a:pt x="751227" y="839954"/>
                </a:lnTo>
                <a:lnTo>
                  <a:pt x="754404" y="843765"/>
                </a:lnTo>
                <a:lnTo>
                  <a:pt x="757898" y="847576"/>
                </a:lnTo>
                <a:lnTo>
                  <a:pt x="761074" y="851386"/>
                </a:lnTo>
                <a:lnTo>
                  <a:pt x="762662" y="853609"/>
                </a:lnTo>
                <a:lnTo>
                  <a:pt x="763933" y="855832"/>
                </a:lnTo>
                <a:lnTo>
                  <a:pt x="765204" y="858373"/>
                </a:lnTo>
                <a:lnTo>
                  <a:pt x="766474" y="861548"/>
                </a:lnTo>
                <a:lnTo>
                  <a:pt x="767427" y="865042"/>
                </a:lnTo>
                <a:lnTo>
                  <a:pt x="768380" y="868852"/>
                </a:lnTo>
                <a:lnTo>
                  <a:pt x="751545" y="872663"/>
                </a:lnTo>
                <a:lnTo>
                  <a:pt x="744874" y="887271"/>
                </a:lnTo>
                <a:lnTo>
                  <a:pt x="740745" y="895528"/>
                </a:lnTo>
                <a:lnTo>
                  <a:pt x="736298" y="904102"/>
                </a:lnTo>
                <a:lnTo>
                  <a:pt x="731533" y="912358"/>
                </a:lnTo>
                <a:lnTo>
                  <a:pt x="726451" y="919980"/>
                </a:lnTo>
                <a:lnTo>
                  <a:pt x="723910" y="923156"/>
                </a:lnTo>
                <a:lnTo>
                  <a:pt x="721051" y="926014"/>
                </a:lnTo>
                <a:lnTo>
                  <a:pt x="718510" y="928555"/>
                </a:lnTo>
                <a:lnTo>
                  <a:pt x="715969" y="930778"/>
                </a:lnTo>
                <a:lnTo>
                  <a:pt x="680393" y="940622"/>
                </a:lnTo>
                <a:lnTo>
                  <a:pt x="648628" y="953960"/>
                </a:lnTo>
                <a:lnTo>
                  <a:pt x="615911" y="967932"/>
                </a:lnTo>
                <a:lnTo>
                  <a:pt x="551747" y="995243"/>
                </a:lnTo>
                <a:lnTo>
                  <a:pt x="544123" y="998101"/>
                </a:lnTo>
                <a:lnTo>
                  <a:pt x="537135" y="1000641"/>
                </a:lnTo>
                <a:lnTo>
                  <a:pt x="522524" y="1006040"/>
                </a:lnTo>
                <a:lnTo>
                  <a:pt x="507912" y="1011121"/>
                </a:lnTo>
                <a:lnTo>
                  <a:pt x="500924" y="1013979"/>
                </a:lnTo>
                <a:lnTo>
                  <a:pt x="493936" y="1016837"/>
                </a:lnTo>
                <a:lnTo>
                  <a:pt x="487583" y="1020648"/>
                </a:lnTo>
                <a:lnTo>
                  <a:pt x="481548" y="1024141"/>
                </a:lnTo>
                <a:lnTo>
                  <a:pt x="475512" y="1027952"/>
                </a:lnTo>
                <a:lnTo>
                  <a:pt x="470430" y="1032398"/>
                </a:lnTo>
                <a:lnTo>
                  <a:pt x="467889" y="1034938"/>
                </a:lnTo>
                <a:lnTo>
                  <a:pt x="465665" y="1037796"/>
                </a:lnTo>
                <a:lnTo>
                  <a:pt x="463442" y="1040337"/>
                </a:lnTo>
                <a:lnTo>
                  <a:pt x="461218" y="1043195"/>
                </a:lnTo>
                <a:lnTo>
                  <a:pt x="459313" y="1046370"/>
                </a:lnTo>
                <a:lnTo>
                  <a:pt x="457407" y="1049546"/>
                </a:lnTo>
                <a:lnTo>
                  <a:pt x="456136" y="1052722"/>
                </a:lnTo>
                <a:lnTo>
                  <a:pt x="454548" y="1056850"/>
                </a:lnTo>
                <a:lnTo>
                  <a:pt x="454230" y="1082573"/>
                </a:lnTo>
                <a:lnTo>
                  <a:pt x="453595" y="1116234"/>
                </a:lnTo>
                <a:lnTo>
                  <a:pt x="452960" y="1151484"/>
                </a:lnTo>
                <a:lnTo>
                  <a:pt x="452642" y="1167997"/>
                </a:lnTo>
                <a:lnTo>
                  <a:pt x="452960" y="1182605"/>
                </a:lnTo>
                <a:lnTo>
                  <a:pt x="1276928" y="1182605"/>
                </a:lnTo>
                <a:lnTo>
                  <a:pt x="1277245" y="1167997"/>
                </a:lnTo>
                <a:lnTo>
                  <a:pt x="1276928" y="1151484"/>
                </a:lnTo>
                <a:lnTo>
                  <a:pt x="1276292" y="1116234"/>
                </a:lnTo>
                <a:lnTo>
                  <a:pt x="1275339" y="1082573"/>
                </a:lnTo>
                <a:lnTo>
                  <a:pt x="1275022" y="1056850"/>
                </a:lnTo>
                <a:lnTo>
                  <a:pt x="1273751" y="1052722"/>
                </a:lnTo>
                <a:lnTo>
                  <a:pt x="1272163" y="1049546"/>
                </a:lnTo>
                <a:lnTo>
                  <a:pt x="1270257" y="1046370"/>
                </a:lnTo>
                <a:lnTo>
                  <a:pt x="1268669" y="1043195"/>
                </a:lnTo>
                <a:lnTo>
                  <a:pt x="1266445" y="1040337"/>
                </a:lnTo>
                <a:lnTo>
                  <a:pt x="1264222" y="1037796"/>
                </a:lnTo>
                <a:lnTo>
                  <a:pt x="1261998" y="1034938"/>
                </a:lnTo>
                <a:lnTo>
                  <a:pt x="1259775" y="1032398"/>
                </a:lnTo>
                <a:lnTo>
                  <a:pt x="1254057" y="1027952"/>
                </a:lnTo>
                <a:lnTo>
                  <a:pt x="1248340" y="1024141"/>
                </a:lnTo>
                <a:lnTo>
                  <a:pt x="1242304" y="1020648"/>
                </a:lnTo>
                <a:lnTo>
                  <a:pt x="1235634" y="1016837"/>
                </a:lnTo>
                <a:lnTo>
                  <a:pt x="1228963" y="1013979"/>
                </a:lnTo>
                <a:lnTo>
                  <a:pt x="1221658" y="1011121"/>
                </a:lnTo>
                <a:lnTo>
                  <a:pt x="1207681" y="1006040"/>
                </a:lnTo>
                <a:lnTo>
                  <a:pt x="1192752" y="1000641"/>
                </a:lnTo>
                <a:lnTo>
                  <a:pt x="1185446" y="998101"/>
                </a:lnTo>
                <a:lnTo>
                  <a:pt x="1178458" y="995243"/>
                </a:lnTo>
                <a:lnTo>
                  <a:pt x="1113659" y="967932"/>
                </a:lnTo>
                <a:lnTo>
                  <a:pt x="1080941" y="953960"/>
                </a:lnTo>
                <a:lnTo>
                  <a:pt x="1049177" y="940622"/>
                </a:lnTo>
                <a:lnTo>
                  <a:pt x="1013601" y="930778"/>
                </a:lnTo>
                <a:lnTo>
                  <a:pt x="1011060" y="928555"/>
                </a:lnTo>
                <a:lnTo>
                  <a:pt x="1008519" y="926014"/>
                </a:lnTo>
                <a:lnTo>
                  <a:pt x="1005977" y="923156"/>
                </a:lnTo>
                <a:lnTo>
                  <a:pt x="1003436" y="919980"/>
                </a:lnTo>
                <a:lnTo>
                  <a:pt x="998036" y="912358"/>
                </a:lnTo>
                <a:lnTo>
                  <a:pt x="993589" y="904102"/>
                </a:lnTo>
                <a:lnTo>
                  <a:pt x="989142" y="895528"/>
                </a:lnTo>
                <a:lnTo>
                  <a:pt x="985013" y="887271"/>
                </a:lnTo>
                <a:lnTo>
                  <a:pt x="978025" y="872663"/>
                </a:lnTo>
                <a:lnTo>
                  <a:pt x="955790" y="869487"/>
                </a:lnTo>
                <a:lnTo>
                  <a:pt x="956107" y="865359"/>
                </a:lnTo>
                <a:lnTo>
                  <a:pt x="956743" y="861231"/>
                </a:lnTo>
                <a:lnTo>
                  <a:pt x="957696" y="857738"/>
                </a:lnTo>
                <a:lnTo>
                  <a:pt x="958649" y="854562"/>
                </a:lnTo>
                <a:lnTo>
                  <a:pt x="960237" y="852021"/>
                </a:lnTo>
                <a:lnTo>
                  <a:pt x="961507" y="849481"/>
                </a:lnTo>
                <a:lnTo>
                  <a:pt x="965319" y="845035"/>
                </a:lnTo>
                <a:lnTo>
                  <a:pt x="968813" y="840272"/>
                </a:lnTo>
                <a:lnTo>
                  <a:pt x="972307" y="835826"/>
                </a:lnTo>
                <a:lnTo>
                  <a:pt x="973895" y="833603"/>
                </a:lnTo>
                <a:lnTo>
                  <a:pt x="975484" y="830745"/>
                </a:lnTo>
                <a:lnTo>
                  <a:pt x="977072" y="827887"/>
                </a:lnTo>
                <a:lnTo>
                  <a:pt x="978025" y="824393"/>
                </a:lnTo>
                <a:lnTo>
                  <a:pt x="978978" y="821218"/>
                </a:lnTo>
                <a:lnTo>
                  <a:pt x="979613" y="818042"/>
                </a:lnTo>
                <a:lnTo>
                  <a:pt x="980566" y="811373"/>
                </a:lnTo>
                <a:lnTo>
                  <a:pt x="981201" y="804069"/>
                </a:lnTo>
                <a:lnTo>
                  <a:pt x="981837" y="797083"/>
                </a:lnTo>
                <a:lnTo>
                  <a:pt x="982154" y="789779"/>
                </a:lnTo>
                <a:lnTo>
                  <a:pt x="983107" y="783110"/>
                </a:lnTo>
                <a:lnTo>
                  <a:pt x="983742" y="779935"/>
                </a:lnTo>
                <a:lnTo>
                  <a:pt x="984695" y="776759"/>
                </a:lnTo>
                <a:lnTo>
                  <a:pt x="985966" y="773266"/>
                </a:lnTo>
                <a:lnTo>
                  <a:pt x="987236" y="770408"/>
                </a:lnTo>
                <a:lnTo>
                  <a:pt x="988507" y="768502"/>
                </a:lnTo>
                <a:lnTo>
                  <a:pt x="989778" y="766915"/>
                </a:lnTo>
                <a:lnTo>
                  <a:pt x="991366" y="765327"/>
                </a:lnTo>
                <a:lnTo>
                  <a:pt x="992636" y="764056"/>
                </a:lnTo>
                <a:lnTo>
                  <a:pt x="996131" y="761834"/>
                </a:lnTo>
                <a:lnTo>
                  <a:pt x="999942" y="759928"/>
                </a:lnTo>
                <a:lnTo>
                  <a:pt x="1003436" y="758023"/>
                </a:lnTo>
                <a:lnTo>
                  <a:pt x="1006930" y="755800"/>
                </a:lnTo>
                <a:lnTo>
                  <a:pt x="1010107" y="753259"/>
                </a:lnTo>
                <a:lnTo>
                  <a:pt x="1011695" y="751989"/>
                </a:lnTo>
                <a:lnTo>
                  <a:pt x="1012966" y="750401"/>
                </a:lnTo>
                <a:lnTo>
                  <a:pt x="1014871" y="746908"/>
                </a:lnTo>
                <a:lnTo>
                  <a:pt x="1017095" y="743097"/>
                </a:lnTo>
                <a:lnTo>
                  <a:pt x="1019001" y="738651"/>
                </a:lnTo>
                <a:lnTo>
                  <a:pt x="1020589" y="734523"/>
                </a:lnTo>
                <a:lnTo>
                  <a:pt x="1023130" y="725631"/>
                </a:lnTo>
                <a:lnTo>
                  <a:pt x="1024718" y="717057"/>
                </a:lnTo>
                <a:lnTo>
                  <a:pt x="1025989" y="709753"/>
                </a:lnTo>
                <a:lnTo>
                  <a:pt x="1026942" y="701814"/>
                </a:lnTo>
                <a:lnTo>
                  <a:pt x="1027895" y="693875"/>
                </a:lnTo>
                <a:lnTo>
                  <a:pt x="1028213" y="685618"/>
                </a:lnTo>
                <a:lnTo>
                  <a:pt x="1027895" y="677362"/>
                </a:lnTo>
                <a:lnTo>
                  <a:pt x="1027577" y="673233"/>
                </a:lnTo>
                <a:lnTo>
                  <a:pt x="1026942" y="669105"/>
                </a:lnTo>
                <a:lnTo>
                  <a:pt x="1025989" y="665294"/>
                </a:lnTo>
                <a:lnTo>
                  <a:pt x="1025036" y="661484"/>
                </a:lnTo>
                <a:lnTo>
                  <a:pt x="1023766" y="657673"/>
                </a:lnTo>
                <a:lnTo>
                  <a:pt x="1022177" y="654180"/>
                </a:lnTo>
                <a:lnTo>
                  <a:pt x="1019001" y="647511"/>
                </a:lnTo>
                <a:lnTo>
                  <a:pt x="1015824" y="642747"/>
                </a:lnTo>
                <a:lnTo>
                  <a:pt x="1014871" y="640207"/>
                </a:lnTo>
                <a:lnTo>
                  <a:pt x="1013919" y="637349"/>
                </a:lnTo>
                <a:lnTo>
                  <a:pt x="1012966" y="633856"/>
                </a:lnTo>
                <a:lnTo>
                  <a:pt x="1012330" y="629410"/>
                </a:lnTo>
                <a:lnTo>
                  <a:pt x="1012013" y="626234"/>
                </a:lnTo>
                <a:lnTo>
                  <a:pt x="1012013" y="622106"/>
                </a:lnTo>
                <a:lnTo>
                  <a:pt x="1012330" y="612261"/>
                </a:lnTo>
                <a:lnTo>
                  <a:pt x="1012966" y="601147"/>
                </a:lnTo>
                <a:lnTo>
                  <a:pt x="1013919" y="588762"/>
                </a:lnTo>
                <a:lnTo>
                  <a:pt x="1016460" y="566215"/>
                </a:lnTo>
                <a:lnTo>
                  <a:pt x="1017095" y="557323"/>
                </a:lnTo>
                <a:lnTo>
                  <a:pt x="1017413" y="551607"/>
                </a:lnTo>
                <a:lnTo>
                  <a:pt x="1017730" y="534141"/>
                </a:lnTo>
                <a:lnTo>
                  <a:pt x="1017413" y="527472"/>
                </a:lnTo>
                <a:lnTo>
                  <a:pt x="1016777" y="521756"/>
                </a:lnTo>
                <a:lnTo>
                  <a:pt x="1015824" y="516040"/>
                </a:lnTo>
                <a:lnTo>
                  <a:pt x="1014236" y="509371"/>
                </a:lnTo>
                <a:lnTo>
                  <a:pt x="1010424" y="492222"/>
                </a:lnTo>
                <a:lnTo>
                  <a:pt x="1008836" y="488412"/>
                </a:lnTo>
                <a:lnTo>
                  <a:pt x="1006930" y="483966"/>
                </a:lnTo>
                <a:lnTo>
                  <a:pt x="1004707" y="478567"/>
                </a:lnTo>
                <a:lnTo>
                  <a:pt x="1001530" y="473169"/>
                </a:lnTo>
                <a:lnTo>
                  <a:pt x="997401" y="467770"/>
                </a:lnTo>
                <a:lnTo>
                  <a:pt x="995495" y="465547"/>
                </a:lnTo>
                <a:lnTo>
                  <a:pt x="993272" y="463324"/>
                </a:lnTo>
                <a:lnTo>
                  <a:pt x="991048" y="460784"/>
                </a:lnTo>
                <a:lnTo>
                  <a:pt x="988825" y="459196"/>
                </a:lnTo>
                <a:lnTo>
                  <a:pt x="962143" y="454750"/>
                </a:lnTo>
                <a:lnTo>
                  <a:pt x="945943" y="439825"/>
                </a:lnTo>
                <a:lnTo>
                  <a:pt x="939908" y="436331"/>
                </a:lnTo>
                <a:lnTo>
                  <a:pt x="933555" y="433156"/>
                </a:lnTo>
                <a:lnTo>
                  <a:pt x="927202" y="430298"/>
                </a:lnTo>
                <a:lnTo>
                  <a:pt x="921167" y="427757"/>
                </a:lnTo>
                <a:lnTo>
                  <a:pt x="915131" y="425534"/>
                </a:lnTo>
                <a:lnTo>
                  <a:pt x="908778" y="423629"/>
                </a:lnTo>
                <a:lnTo>
                  <a:pt x="902426" y="422041"/>
                </a:lnTo>
                <a:lnTo>
                  <a:pt x="896390" y="421088"/>
                </a:lnTo>
                <a:lnTo>
                  <a:pt x="890038" y="420136"/>
                </a:lnTo>
                <a:lnTo>
                  <a:pt x="884002" y="419501"/>
                </a:lnTo>
                <a:lnTo>
                  <a:pt x="878285" y="419183"/>
                </a:lnTo>
                <a:lnTo>
                  <a:pt x="871932" y="418865"/>
                </a:lnTo>
                <a:close/>
                <a:moveTo>
                  <a:pt x="1477962" y="0"/>
                </a:moveTo>
                <a:lnTo>
                  <a:pt x="1622425" y="0"/>
                </a:lnTo>
                <a:lnTo>
                  <a:pt x="1622425" y="366713"/>
                </a:lnTo>
                <a:lnTo>
                  <a:pt x="1477962" y="366713"/>
                </a:lnTo>
                <a:lnTo>
                  <a:pt x="1477962" y="0"/>
                </a:lnTo>
                <a:close/>
                <a:moveTo>
                  <a:pt x="326855" y="0"/>
                </a:moveTo>
                <a:lnTo>
                  <a:pt x="1403350" y="0"/>
                </a:lnTo>
                <a:lnTo>
                  <a:pt x="1403350" y="1601788"/>
                </a:lnTo>
                <a:lnTo>
                  <a:pt x="326855" y="1601788"/>
                </a:lnTo>
                <a:lnTo>
                  <a:pt x="326855" y="0"/>
                </a:lnTo>
                <a:close/>
                <a:moveTo>
                  <a:pt x="90211" y="0"/>
                </a:moveTo>
                <a:lnTo>
                  <a:pt x="94975" y="0"/>
                </a:lnTo>
                <a:lnTo>
                  <a:pt x="212503" y="0"/>
                </a:lnTo>
                <a:lnTo>
                  <a:pt x="212503" y="1601788"/>
                </a:lnTo>
                <a:lnTo>
                  <a:pt x="94975" y="1601788"/>
                </a:lnTo>
                <a:lnTo>
                  <a:pt x="90211" y="1601788"/>
                </a:lnTo>
                <a:lnTo>
                  <a:pt x="85446" y="1601471"/>
                </a:lnTo>
                <a:lnTo>
                  <a:pt x="80681" y="1600835"/>
                </a:lnTo>
                <a:lnTo>
                  <a:pt x="75917" y="1599883"/>
                </a:lnTo>
                <a:lnTo>
                  <a:pt x="71470" y="1598930"/>
                </a:lnTo>
                <a:lnTo>
                  <a:pt x="67023" y="1597660"/>
                </a:lnTo>
                <a:lnTo>
                  <a:pt x="62258" y="1596072"/>
                </a:lnTo>
                <a:lnTo>
                  <a:pt x="58129" y="1594484"/>
                </a:lnTo>
                <a:lnTo>
                  <a:pt x="53999" y="1592261"/>
                </a:lnTo>
                <a:lnTo>
                  <a:pt x="49870" y="1590356"/>
                </a:lnTo>
                <a:lnTo>
                  <a:pt x="45740" y="1587815"/>
                </a:lnTo>
                <a:lnTo>
                  <a:pt x="41929" y="1585592"/>
                </a:lnTo>
                <a:lnTo>
                  <a:pt x="38117" y="1583052"/>
                </a:lnTo>
                <a:lnTo>
                  <a:pt x="34623" y="1580194"/>
                </a:lnTo>
                <a:lnTo>
                  <a:pt x="31446" y="1577336"/>
                </a:lnTo>
                <a:lnTo>
                  <a:pt x="27635" y="1573843"/>
                </a:lnTo>
                <a:lnTo>
                  <a:pt x="24776" y="1570667"/>
                </a:lnTo>
                <a:lnTo>
                  <a:pt x="21917" y="1567174"/>
                </a:lnTo>
                <a:lnTo>
                  <a:pt x="19058" y="1563681"/>
                </a:lnTo>
                <a:lnTo>
                  <a:pt x="16517" y="1559870"/>
                </a:lnTo>
                <a:lnTo>
                  <a:pt x="13976" y="1556059"/>
                </a:lnTo>
                <a:lnTo>
                  <a:pt x="11435" y="1551931"/>
                </a:lnTo>
                <a:lnTo>
                  <a:pt x="9211" y="1548120"/>
                </a:lnTo>
                <a:lnTo>
                  <a:pt x="7306" y="1543992"/>
                </a:lnTo>
                <a:lnTo>
                  <a:pt x="5717" y="1539228"/>
                </a:lnTo>
                <a:lnTo>
                  <a:pt x="4447" y="1535100"/>
                </a:lnTo>
                <a:lnTo>
                  <a:pt x="3176" y="1530654"/>
                </a:lnTo>
                <a:lnTo>
                  <a:pt x="1906" y="1525891"/>
                </a:lnTo>
                <a:lnTo>
                  <a:pt x="1270" y="1521127"/>
                </a:lnTo>
                <a:lnTo>
                  <a:pt x="635" y="1516364"/>
                </a:lnTo>
                <a:lnTo>
                  <a:pt x="317" y="1511600"/>
                </a:lnTo>
                <a:lnTo>
                  <a:pt x="0" y="1506837"/>
                </a:lnTo>
                <a:lnTo>
                  <a:pt x="0" y="94951"/>
                </a:lnTo>
                <a:lnTo>
                  <a:pt x="317" y="90188"/>
                </a:lnTo>
                <a:lnTo>
                  <a:pt x="635" y="85424"/>
                </a:lnTo>
                <a:lnTo>
                  <a:pt x="1270" y="80661"/>
                </a:lnTo>
                <a:lnTo>
                  <a:pt x="1906" y="75580"/>
                </a:lnTo>
                <a:lnTo>
                  <a:pt x="3176" y="71134"/>
                </a:lnTo>
                <a:lnTo>
                  <a:pt x="4447" y="66688"/>
                </a:lnTo>
                <a:lnTo>
                  <a:pt x="5717" y="62560"/>
                </a:lnTo>
                <a:lnTo>
                  <a:pt x="7306" y="57796"/>
                </a:lnTo>
                <a:lnTo>
                  <a:pt x="9211" y="53668"/>
                </a:lnTo>
                <a:lnTo>
                  <a:pt x="11435" y="49857"/>
                </a:lnTo>
                <a:lnTo>
                  <a:pt x="13976" y="45729"/>
                </a:lnTo>
                <a:lnTo>
                  <a:pt x="16517" y="41601"/>
                </a:lnTo>
                <a:lnTo>
                  <a:pt x="19058" y="38107"/>
                </a:lnTo>
                <a:lnTo>
                  <a:pt x="21917" y="34614"/>
                </a:lnTo>
                <a:lnTo>
                  <a:pt x="24776" y="31121"/>
                </a:lnTo>
                <a:lnTo>
                  <a:pt x="27635" y="27945"/>
                </a:lnTo>
                <a:lnTo>
                  <a:pt x="31446" y="24452"/>
                </a:lnTo>
                <a:lnTo>
                  <a:pt x="34623" y="21594"/>
                </a:lnTo>
                <a:lnTo>
                  <a:pt x="38117" y="18736"/>
                </a:lnTo>
                <a:lnTo>
                  <a:pt x="41929" y="16195"/>
                </a:lnTo>
                <a:lnTo>
                  <a:pt x="45740" y="13655"/>
                </a:lnTo>
                <a:lnTo>
                  <a:pt x="49870" y="11432"/>
                </a:lnTo>
                <a:lnTo>
                  <a:pt x="53999" y="9527"/>
                </a:lnTo>
                <a:lnTo>
                  <a:pt x="58129" y="7304"/>
                </a:lnTo>
                <a:lnTo>
                  <a:pt x="62258" y="5716"/>
                </a:lnTo>
                <a:lnTo>
                  <a:pt x="67023" y="4128"/>
                </a:lnTo>
                <a:lnTo>
                  <a:pt x="71470" y="2858"/>
                </a:lnTo>
                <a:lnTo>
                  <a:pt x="75917" y="1905"/>
                </a:lnTo>
                <a:lnTo>
                  <a:pt x="80681" y="952"/>
                </a:lnTo>
                <a:lnTo>
                  <a:pt x="85446" y="317"/>
                </a:lnTo>
                <a:lnTo>
                  <a:pt x="90211" y="0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algn="ctr">
              <a:lnSpc>
                <a:spcPct val="120000"/>
              </a:lnSpc>
            </a:pPr>
            <a:endParaRPr lang="zh-CN" altLang="en-US" sz="1350">
              <a:solidFill>
                <a:srgbClr val="FFFFFF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4" name="矩形 43"/>
          <p:cNvSpPr/>
          <p:nvPr>
            <p:custDataLst>
              <p:tags r:id="rId12"/>
            </p:custDataLst>
          </p:nvPr>
        </p:nvSpPr>
        <p:spPr>
          <a:xfrm>
            <a:off x="5792780" y="2687083"/>
            <a:ext cx="2442531" cy="297101"/>
          </a:xfrm>
          <a:prstGeom prst="rect">
            <a:avLst/>
          </a:prstGeom>
        </p:spPr>
        <p:txBody>
          <a:bodyPr wrap="square" lIns="68580" tIns="34290" rIns="68580" bIns="0" anchor="b"/>
          <a:lstStyle/>
          <a:p>
            <a:pPr>
              <a:lnSpc>
                <a:spcPct val="120000"/>
              </a:lnSpc>
            </a:pPr>
            <a:r>
              <a:rPr lang="en-US" altLang="zh-CN" sz="2000" kern="0" dirty="0">
                <a:sym typeface="Arial" panose="020B0604020202020204" pitchFamily="34" charset="0"/>
              </a:rPr>
              <a:t>    </a:t>
            </a:r>
            <a:r>
              <a:rPr lang="zh-CN" altLang="da-DK" sz="2000" kern="0" dirty="0">
                <a:sym typeface="Arial" panose="020B0604020202020204" pitchFamily="34" charset="0"/>
              </a:rPr>
              <a:t>深入阅读，开展读书沙龙。</a:t>
            </a:r>
            <a:endParaRPr lang="zh-CN" altLang="da-DK" sz="2000" b="1" kern="0" spc="300" dirty="0">
              <a:solidFill>
                <a:srgbClr val="8EAADC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39330" y="3349625"/>
            <a:ext cx="1804670" cy="1910715"/>
          </a:xfrm>
          <a:prstGeom prst="rect">
            <a:avLst/>
          </a:prstGeom>
        </p:spPr>
      </p:pic>
      <p:pic>
        <p:nvPicPr>
          <p:cNvPr id="5" name="图片 4" descr="logo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pic>
        <p:nvPicPr>
          <p:cNvPr id="5" name="图片 4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pic>
        <p:nvPicPr>
          <p:cNvPr id="4" name="图片 3" descr="QQ图片2022082314360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000000">
                  <a:alpha val="100000"/>
                </a:srgbClr>
              </a:clrFrom>
              <a:clrTo>
                <a:srgbClr val="000000">
                  <a:alpha val="100000"/>
                  <a:alpha val="0"/>
                </a:srgbClr>
              </a:clrTo>
            </a:clrChange>
          </a:blip>
          <a:srcRect l="20494" t="7926" r="19148" b="7741"/>
          <a:stretch>
            <a:fillRect/>
          </a:stretch>
        </p:blipFill>
        <p:spPr>
          <a:xfrm>
            <a:off x="4685030" y="2150745"/>
            <a:ext cx="2072640" cy="2897505"/>
          </a:xfrm>
          <a:prstGeom prst="rect">
            <a:avLst/>
          </a:prstGeom>
        </p:spPr>
      </p:pic>
      <p:pic>
        <p:nvPicPr>
          <p:cNvPr id="2" name="图片 1" descr="QQ截图202208231506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8010" y="635635"/>
            <a:ext cx="2426335" cy="1515110"/>
          </a:xfrm>
          <a:prstGeom prst="rect">
            <a:avLst/>
          </a:prstGeom>
        </p:spPr>
      </p:pic>
      <p:pic>
        <p:nvPicPr>
          <p:cNvPr id="3" name="图片 2" descr="QQ截图2022082315070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5785" y="2150745"/>
            <a:ext cx="2030095" cy="289814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389890" y="962025"/>
            <a:ext cx="5080000" cy="4603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 sz="2400">
                <a:latin typeface="楷体" panose="02010609060101010101" charset="-122"/>
                <a:ea typeface="楷体" panose="02010609060101010101" charset="-122"/>
              </a:rPr>
              <a:t>1、提升教师理论素养</a:t>
            </a:r>
            <a:endParaRPr lang="zh-CN" sz="2400">
              <a:latin typeface="楷体" panose="02010609060101010101" charset="-122"/>
              <a:ea typeface="楷体" panose="02010609060101010101" charset="-122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7"/>
            </p:custDataLst>
          </p:nvPr>
        </p:nvGraphicFramePr>
        <p:xfrm>
          <a:off x="503555" y="1515745"/>
          <a:ext cx="4131945" cy="3453765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384300"/>
                <a:gridCol w="2747645"/>
              </a:tblGrid>
              <a:tr h="120332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spc="130">
                          <a:latin typeface="微软雅黑" panose="020B0503020204020204" charset="-122"/>
                          <a:ea typeface="微软雅黑" panose="020B0503020204020204" charset="-122"/>
                        </a:rPr>
                        <a:t>杂志订阅</a:t>
                      </a:r>
                      <a:endParaRPr lang="en-US" sz="1600" b="0" spc="13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  <a:tc>
                  <a:txBody>
                    <a:bodyPr/>
                    <a:lstStyle/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600" b="0" spc="130">
                          <a:latin typeface="微软雅黑" panose="020B0503020204020204" charset="-122"/>
                          <a:ea typeface="微软雅黑" panose="020B0503020204020204" charset="-122"/>
                        </a:rPr>
                        <a:t>《中小学信息技术》</a:t>
                      </a:r>
                      <a:endParaRPr lang="en-US" altLang="zh-CN" sz="1600" b="0" spc="13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600" b="0" spc="130">
                          <a:latin typeface="微软雅黑" panose="020B0503020204020204" charset="-122"/>
                          <a:ea typeface="微软雅黑" panose="020B0503020204020204" charset="-122"/>
                        </a:rPr>
                        <a:t>《中国教育信息化》</a:t>
                      </a:r>
                      <a:endParaRPr lang="en-US" altLang="zh-CN" sz="1600" b="0" spc="13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600" b="0" spc="130">
                          <a:latin typeface="微软雅黑" panose="020B0503020204020204" charset="-122"/>
                          <a:ea typeface="微软雅黑" panose="020B0503020204020204" charset="-122"/>
                        </a:rPr>
                        <a:t>《中国电化教育》</a:t>
                      </a:r>
                      <a:endParaRPr lang="en-US" altLang="zh-CN" sz="1600" b="0" spc="13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</a:tr>
              <a:tr h="66103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spc="120">
                          <a:latin typeface="微软雅黑" panose="020B0503020204020204" charset="-122"/>
                          <a:ea typeface="微软雅黑" panose="020B0503020204020204" charset="-122"/>
                        </a:rPr>
                        <a:t>共读书目</a:t>
                      </a:r>
                      <a:endParaRPr lang="en-US" sz="1400" b="0" spc="12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  <a:tc>
                  <a:txBody>
                    <a:bodyPr/>
                    <a:lstStyle/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</a:rPr>
                        <a:t>信息科技课程标准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</a:rPr>
                        <a:t>》</a:t>
                      </a:r>
                      <a:endParaRPr lang="en-US" altLang="zh-CN" sz="1400" b="0" spc="12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</a:tr>
              <a:tr h="1589405">
                <a:tc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0" spc="120">
                          <a:latin typeface="微软雅黑" panose="020B0503020204020204" charset="-122"/>
                          <a:ea typeface="微软雅黑" panose="020B0503020204020204" charset="-122"/>
                        </a:rPr>
                        <a:t>专业书籍</a:t>
                      </a:r>
                      <a:endParaRPr lang="en-US" altLang="en-US" sz="1400" b="0" spc="12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  <a:tc>
                  <a:txBody>
                    <a:bodyPr/>
                    <a:lstStyle/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基于</a:t>
                      </a:r>
                      <a:r>
                        <a:rPr 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Mixly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的创客作品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》</a:t>
                      </a:r>
                      <a:endParaRPr lang="zh-CN" altLang="en-US" sz="1400" b="0" spc="12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少儿游戏趣味编程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》</a:t>
                      </a:r>
                      <a:endParaRPr lang="zh-CN" altLang="en-US" sz="1400" b="0" spc="12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编程真好玩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》</a:t>
                      </a:r>
                      <a:endParaRPr lang="zh-CN" altLang="en-US" sz="1400" b="0" spc="12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小创客轻松玩转</a:t>
                      </a:r>
                      <a:r>
                        <a:rPr 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3D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打印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》</a:t>
                      </a:r>
                      <a:endParaRPr lang="zh-CN" altLang="en-US" sz="1400" b="0" spc="12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 defTabSz="914400" rtl="0" eaLnBrk="1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《</a:t>
                      </a:r>
                      <a:r>
                        <a:rPr lang="zh-CN" altLang="en-US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从优秀教师到卓越教师</a:t>
                      </a:r>
                      <a:r>
                        <a:rPr lang="en-US" altLang="zh-CN" sz="1400" b="0" spc="12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》</a:t>
                      </a:r>
                      <a:endParaRPr lang="en-US" altLang="zh-CN" sz="1400" b="0" spc="12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177800" marR="177800" marT="107950" marB="107950" anchor="ctr"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20675" y="852805"/>
            <a:ext cx="5080000" cy="4603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2、提升教师教科研能力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6" name="图片 5" descr="&amp;pky97175844297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52385" y="3575050"/>
            <a:ext cx="1548765" cy="1568450"/>
          </a:xfrm>
          <a:prstGeom prst="rect">
            <a:avLst/>
          </a:prstGeom>
        </p:spPr>
      </p:pic>
      <p:pic>
        <p:nvPicPr>
          <p:cNvPr id="8" name="图片 7" descr="logo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grpSp>
        <p:nvGrpSpPr>
          <p:cNvPr id="63" name="组合 62"/>
          <p:cNvGrpSpPr/>
          <p:nvPr/>
        </p:nvGrpSpPr>
        <p:grpSpPr>
          <a:xfrm>
            <a:off x="299085" y="1588900"/>
            <a:ext cx="8546082" cy="2531458"/>
            <a:chOff x="1810" y="3055"/>
            <a:chExt cx="15615" cy="4625"/>
          </a:xfrm>
        </p:grpSpPr>
        <p:sp>
          <p:nvSpPr>
            <p:cNvPr id="5" name="圆角矩形 4"/>
            <p:cNvSpPr/>
            <p:nvPr/>
          </p:nvSpPr>
          <p:spPr>
            <a:xfrm>
              <a:off x="1810" y="3111"/>
              <a:ext cx="4570" cy="4570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  <a:effectLst>
              <a:outerShdw blurRad="1778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sp>
          <p:nvSpPr>
            <p:cNvPr id="7" name="圆角矩形 6"/>
            <p:cNvSpPr/>
            <p:nvPr/>
          </p:nvSpPr>
          <p:spPr>
            <a:xfrm>
              <a:off x="1972" y="3273"/>
              <a:ext cx="4246" cy="4246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2793" y="3055"/>
              <a:ext cx="2604" cy="2604"/>
              <a:chOff x="435203" y="2733903"/>
              <a:chExt cx="1644194" cy="1644194"/>
            </a:xfrm>
          </p:grpSpPr>
          <p:grpSp>
            <p:nvGrpSpPr>
              <p:cNvPr id="10" name="组合 9"/>
              <p:cNvGrpSpPr/>
              <p:nvPr/>
            </p:nvGrpSpPr>
            <p:grpSpPr>
              <a:xfrm>
                <a:off x="435203" y="2733903"/>
                <a:ext cx="1644194" cy="1644194"/>
                <a:chOff x="5219336" y="1411604"/>
                <a:chExt cx="2903584" cy="2903584"/>
              </a:xfrm>
            </p:grpSpPr>
            <p:sp>
              <p:nvSpPr>
                <p:cNvPr id="11" name="椭圆 10"/>
                <p:cNvSpPr/>
                <p:nvPr/>
              </p:nvSpPr>
              <p:spPr>
                <a:xfrm>
                  <a:off x="5219336" y="1411604"/>
                  <a:ext cx="2903584" cy="29035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F9F9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2700000" scaled="1"/>
                  <a:tileRect/>
                </a:gradFill>
                <a:ln w="31750">
                  <a:noFill/>
                </a:ln>
                <a:effectLst>
                  <a:softEdge rad="2159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12" name="椭圆 11"/>
                <p:cNvSpPr/>
                <p:nvPr/>
              </p:nvSpPr>
              <p:spPr>
                <a:xfrm>
                  <a:off x="5787323" y="1979591"/>
                  <a:ext cx="1767610" cy="1767610"/>
                </a:xfrm>
                <a:prstGeom prst="ellipse">
                  <a:avLst/>
                </a:prstGeom>
                <a:gradFill>
                  <a:gsLst>
                    <a:gs pos="100000">
                      <a:schemeClr val="bg1"/>
                    </a:gs>
                    <a:gs pos="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  <a:effectLst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13" name="椭圆 12"/>
                <p:cNvSpPr/>
                <p:nvPr/>
              </p:nvSpPr>
              <p:spPr>
                <a:xfrm>
                  <a:off x="5956263" y="2148531"/>
                  <a:ext cx="1429731" cy="1429731"/>
                </a:xfrm>
                <a:prstGeom prst="ellipse">
                  <a:avLst/>
                </a:prstGeom>
                <a:solidFill>
                  <a:srgbClr val="01ACB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14" name="椭圆 13"/>
                <p:cNvSpPr/>
                <p:nvPr/>
              </p:nvSpPr>
              <p:spPr>
                <a:xfrm>
                  <a:off x="6014084" y="2206352"/>
                  <a:ext cx="1314088" cy="1314088"/>
                </a:xfrm>
                <a:prstGeom prst="ellipse">
                  <a:avLst/>
                </a:prstGeom>
                <a:gradFill>
                  <a:gsLst>
                    <a:gs pos="0">
                      <a:srgbClr val="F7F7F7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15" name="椭圆 14"/>
                <p:cNvSpPr/>
                <p:nvPr/>
              </p:nvSpPr>
              <p:spPr>
                <a:xfrm>
                  <a:off x="6078822" y="2271090"/>
                  <a:ext cx="1184612" cy="1184612"/>
                </a:xfrm>
                <a:prstGeom prst="ellipse">
                  <a:avLst/>
                </a:prstGeom>
                <a:gradFill>
                  <a:gsLst>
                    <a:gs pos="0">
                      <a:schemeClr val="bg1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 w="31750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100000">
                        <a:schemeClr val="bg1"/>
                      </a:gs>
                    </a:gsLst>
                    <a:lin ang="2700000" scaled="1"/>
                    <a:tileRect/>
                  </a:gradFill>
                </a:ln>
                <a:effectLst>
                  <a:innerShdw blurRad="76200" dist="381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</p:grpSp>
          <p:sp>
            <p:nvSpPr>
              <p:cNvPr id="16" name="文本框 15"/>
              <p:cNvSpPr txBox="1"/>
              <p:nvPr/>
            </p:nvSpPr>
            <p:spPr>
              <a:xfrm>
                <a:off x="734830" y="3299204"/>
                <a:ext cx="1030514" cy="6021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algn="ctr"/>
                <a:r>
                  <a:rPr lang="en-US" altLang="zh-CN" sz="2800" dirty="0">
                    <a:solidFill>
                      <a:srgbClr val="01ACBE"/>
                    </a:solidFill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rPr>
                  <a:t>01</a:t>
                </a:r>
                <a:endParaRPr lang="zh-CN" altLang="en-US" sz="2800" dirty="0">
                  <a:solidFill>
                    <a:srgbClr val="01ACBE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  <p:sp>
          <p:nvSpPr>
            <p:cNvPr id="18" name="文本框 17"/>
            <p:cNvSpPr txBox="1"/>
            <p:nvPr/>
          </p:nvSpPr>
          <p:spPr>
            <a:xfrm>
              <a:off x="1971" y="5643"/>
              <a:ext cx="3411" cy="12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2000" dirty="0">
                  <a:solidFill>
                    <a:srgbClr val="01ACBE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rPr>
                <a:t>“少年硅谷”课程基地建设</a:t>
              </a:r>
              <a:endParaRPr lang="zh-CN" altLang="en-US" sz="2000" dirty="0">
                <a:solidFill>
                  <a:srgbClr val="01ACBE"/>
                </a:solidFill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5265" y="5778"/>
              <a:ext cx="649" cy="760"/>
              <a:chOff x="1776" y="1776"/>
              <a:chExt cx="64" cy="75"/>
            </a:xfrm>
            <a:solidFill>
              <a:schemeClr val="bg1">
                <a:lumMod val="75000"/>
              </a:schemeClr>
            </a:solidFill>
            <a:effectLst/>
          </p:grpSpPr>
          <p:sp>
            <p:nvSpPr>
              <p:cNvPr id="21" name="Freeform 5"/>
              <p:cNvSpPr/>
              <p:nvPr/>
            </p:nvSpPr>
            <p:spPr bwMode="auto">
              <a:xfrm>
                <a:off x="1795" y="1779"/>
                <a:ext cx="29" cy="26"/>
              </a:xfrm>
              <a:custGeom>
                <a:avLst/>
                <a:gdLst>
                  <a:gd name="T0" fmla="*/ 5 w 11"/>
                  <a:gd name="T1" fmla="*/ 10 h 10"/>
                  <a:gd name="T2" fmla="*/ 5 w 11"/>
                  <a:gd name="T3" fmla="*/ 10 h 10"/>
                  <a:gd name="T4" fmla="*/ 11 w 11"/>
                  <a:gd name="T5" fmla="*/ 5 h 10"/>
                  <a:gd name="T6" fmla="*/ 5 w 11"/>
                  <a:gd name="T7" fmla="*/ 0 h 10"/>
                  <a:gd name="T8" fmla="*/ 5 w 11"/>
                  <a:gd name="T9" fmla="*/ 0 h 10"/>
                  <a:gd name="T10" fmla="*/ 0 w 11"/>
                  <a:gd name="T11" fmla="*/ 5 h 10"/>
                  <a:gd name="T12" fmla="*/ 5 w 11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0"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8" y="10"/>
                      <a:pt x="11" y="8"/>
                      <a:pt x="11" y="5"/>
                    </a:cubicBezTo>
                    <a:cubicBezTo>
                      <a:pt x="11" y="2"/>
                      <a:pt x="8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1"/>
                      <a:pt x="0" y="3"/>
                      <a:pt x="0" y="5"/>
                    </a:cubicBezTo>
                    <a:cubicBezTo>
                      <a:pt x="0" y="8"/>
                      <a:pt x="2" y="10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22" name="Freeform 6"/>
              <p:cNvSpPr/>
              <p:nvPr/>
            </p:nvSpPr>
            <p:spPr bwMode="auto">
              <a:xfrm>
                <a:off x="1776" y="1810"/>
                <a:ext cx="64" cy="41"/>
              </a:xfrm>
              <a:custGeom>
                <a:avLst/>
                <a:gdLst>
                  <a:gd name="T0" fmla="*/ 23 w 24"/>
                  <a:gd name="T1" fmla="*/ 3 h 16"/>
                  <a:gd name="T2" fmla="*/ 19 w 24"/>
                  <a:gd name="T3" fmla="*/ 0 h 16"/>
                  <a:gd name="T4" fmla="*/ 19 w 24"/>
                  <a:gd name="T5" fmla="*/ 0 h 16"/>
                  <a:gd name="T6" fmla="*/ 17 w 24"/>
                  <a:gd name="T7" fmla="*/ 0 h 16"/>
                  <a:gd name="T8" fmla="*/ 15 w 24"/>
                  <a:gd name="T9" fmla="*/ 5 h 16"/>
                  <a:gd name="T10" fmla="*/ 12 w 24"/>
                  <a:gd name="T11" fmla="*/ 11 h 16"/>
                  <a:gd name="T12" fmla="*/ 14 w 24"/>
                  <a:gd name="T13" fmla="*/ 7 h 16"/>
                  <a:gd name="T14" fmla="*/ 13 w 24"/>
                  <a:gd name="T15" fmla="*/ 1 h 16"/>
                  <a:gd name="T16" fmla="*/ 13 w 24"/>
                  <a:gd name="T17" fmla="*/ 1 h 16"/>
                  <a:gd name="T18" fmla="*/ 12 w 24"/>
                  <a:gd name="T19" fmla="*/ 0 h 16"/>
                  <a:gd name="T20" fmla="*/ 12 w 24"/>
                  <a:gd name="T21" fmla="*/ 0 h 16"/>
                  <a:gd name="T22" fmla="*/ 12 w 24"/>
                  <a:gd name="T23" fmla="*/ 1 h 16"/>
                  <a:gd name="T24" fmla="*/ 12 w 24"/>
                  <a:gd name="T25" fmla="*/ 1 h 16"/>
                  <a:gd name="T26" fmla="*/ 11 w 24"/>
                  <a:gd name="T27" fmla="*/ 7 h 16"/>
                  <a:gd name="T28" fmla="*/ 10 w 24"/>
                  <a:gd name="T29" fmla="*/ 5 h 16"/>
                  <a:gd name="T30" fmla="*/ 8 w 24"/>
                  <a:gd name="T31" fmla="*/ 0 h 16"/>
                  <a:gd name="T32" fmla="*/ 5 w 24"/>
                  <a:gd name="T33" fmla="*/ 0 h 16"/>
                  <a:gd name="T34" fmla="*/ 5 w 24"/>
                  <a:gd name="T35" fmla="*/ 0 h 16"/>
                  <a:gd name="T36" fmla="*/ 1 w 24"/>
                  <a:gd name="T37" fmla="*/ 3 h 16"/>
                  <a:gd name="T38" fmla="*/ 0 w 24"/>
                  <a:gd name="T39" fmla="*/ 16 h 16"/>
                  <a:gd name="T40" fmla="*/ 4 w 24"/>
                  <a:gd name="T41" fmla="*/ 16 h 16"/>
                  <a:gd name="T42" fmla="*/ 4 w 24"/>
                  <a:gd name="T43" fmla="*/ 6 h 16"/>
                  <a:gd name="T44" fmla="*/ 5 w 24"/>
                  <a:gd name="T45" fmla="*/ 6 h 16"/>
                  <a:gd name="T46" fmla="*/ 5 w 24"/>
                  <a:gd name="T47" fmla="*/ 16 h 16"/>
                  <a:gd name="T48" fmla="*/ 12 w 24"/>
                  <a:gd name="T49" fmla="*/ 16 h 16"/>
                  <a:gd name="T50" fmla="*/ 19 w 24"/>
                  <a:gd name="T51" fmla="*/ 16 h 16"/>
                  <a:gd name="T52" fmla="*/ 19 w 24"/>
                  <a:gd name="T53" fmla="*/ 6 h 16"/>
                  <a:gd name="T54" fmla="*/ 19 w 24"/>
                  <a:gd name="T55" fmla="*/ 6 h 16"/>
                  <a:gd name="T56" fmla="*/ 20 w 24"/>
                  <a:gd name="T57" fmla="*/ 6 h 16"/>
                  <a:gd name="T58" fmla="*/ 20 w 24"/>
                  <a:gd name="T59" fmla="*/ 16 h 16"/>
                  <a:gd name="T60" fmla="*/ 23 w 24"/>
                  <a:gd name="T61" fmla="*/ 16 h 16"/>
                  <a:gd name="T62" fmla="*/ 23 w 24"/>
                  <a:gd name="T63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16">
                    <a:moveTo>
                      <a:pt x="23" y="3"/>
                    </a:moveTo>
                    <a:cubicBezTo>
                      <a:pt x="22" y="1"/>
                      <a:pt x="20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2" y="1"/>
                      <a:pt x="1" y="3"/>
                    </a:cubicBezTo>
                    <a:cubicBezTo>
                      <a:pt x="0" y="5"/>
                      <a:pt x="0" y="11"/>
                      <a:pt x="0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5" y="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20" y="6"/>
                      <a:pt x="20" y="6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4" y="11"/>
                      <a:pt x="24" y="5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23" name="Freeform 7"/>
              <p:cNvSpPr/>
              <p:nvPr/>
            </p:nvSpPr>
            <p:spPr bwMode="auto">
              <a:xfrm>
                <a:off x="1795" y="1776"/>
                <a:ext cx="29" cy="26"/>
              </a:xfrm>
              <a:custGeom>
                <a:avLst/>
                <a:gdLst>
                  <a:gd name="T0" fmla="*/ 5 w 11"/>
                  <a:gd name="T1" fmla="*/ 10 h 10"/>
                  <a:gd name="T2" fmla="*/ 5 w 11"/>
                  <a:gd name="T3" fmla="*/ 10 h 10"/>
                  <a:gd name="T4" fmla="*/ 11 w 11"/>
                  <a:gd name="T5" fmla="*/ 5 h 10"/>
                  <a:gd name="T6" fmla="*/ 5 w 11"/>
                  <a:gd name="T7" fmla="*/ 0 h 10"/>
                  <a:gd name="T8" fmla="*/ 5 w 11"/>
                  <a:gd name="T9" fmla="*/ 0 h 10"/>
                  <a:gd name="T10" fmla="*/ 0 w 11"/>
                  <a:gd name="T11" fmla="*/ 5 h 10"/>
                  <a:gd name="T12" fmla="*/ 5 w 11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0">
                    <a:moveTo>
                      <a:pt x="5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8" y="10"/>
                      <a:pt x="11" y="8"/>
                      <a:pt x="11" y="5"/>
                    </a:cubicBezTo>
                    <a:cubicBezTo>
                      <a:pt x="11" y="2"/>
                      <a:pt x="8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1"/>
                      <a:pt x="0" y="3"/>
                      <a:pt x="0" y="5"/>
                    </a:cubicBezTo>
                    <a:cubicBezTo>
                      <a:pt x="0" y="8"/>
                      <a:pt x="2" y="10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24" name="Freeform 8"/>
              <p:cNvSpPr/>
              <p:nvPr/>
            </p:nvSpPr>
            <p:spPr bwMode="auto">
              <a:xfrm>
                <a:off x="1776" y="1807"/>
                <a:ext cx="64" cy="42"/>
              </a:xfrm>
              <a:custGeom>
                <a:avLst/>
                <a:gdLst>
                  <a:gd name="T0" fmla="*/ 23 w 24"/>
                  <a:gd name="T1" fmla="*/ 3 h 16"/>
                  <a:gd name="T2" fmla="*/ 19 w 24"/>
                  <a:gd name="T3" fmla="*/ 0 h 16"/>
                  <a:gd name="T4" fmla="*/ 19 w 24"/>
                  <a:gd name="T5" fmla="*/ 0 h 16"/>
                  <a:gd name="T6" fmla="*/ 17 w 24"/>
                  <a:gd name="T7" fmla="*/ 0 h 16"/>
                  <a:gd name="T8" fmla="*/ 15 w 24"/>
                  <a:gd name="T9" fmla="*/ 5 h 16"/>
                  <a:gd name="T10" fmla="*/ 12 w 24"/>
                  <a:gd name="T11" fmla="*/ 11 h 16"/>
                  <a:gd name="T12" fmla="*/ 14 w 24"/>
                  <a:gd name="T13" fmla="*/ 7 h 16"/>
                  <a:gd name="T14" fmla="*/ 13 w 24"/>
                  <a:gd name="T15" fmla="*/ 1 h 16"/>
                  <a:gd name="T16" fmla="*/ 13 w 24"/>
                  <a:gd name="T17" fmla="*/ 1 h 16"/>
                  <a:gd name="T18" fmla="*/ 12 w 24"/>
                  <a:gd name="T19" fmla="*/ 0 h 16"/>
                  <a:gd name="T20" fmla="*/ 12 w 24"/>
                  <a:gd name="T21" fmla="*/ 0 h 16"/>
                  <a:gd name="T22" fmla="*/ 12 w 24"/>
                  <a:gd name="T23" fmla="*/ 1 h 16"/>
                  <a:gd name="T24" fmla="*/ 12 w 24"/>
                  <a:gd name="T25" fmla="*/ 1 h 16"/>
                  <a:gd name="T26" fmla="*/ 11 w 24"/>
                  <a:gd name="T27" fmla="*/ 7 h 16"/>
                  <a:gd name="T28" fmla="*/ 10 w 24"/>
                  <a:gd name="T29" fmla="*/ 5 h 16"/>
                  <a:gd name="T30" fmla="*/ 8 w 24"/>
                  <a:gd name="T31" fmla="*/ 0 h 16"/>
                  <a:gd name="T32" fmla="*/ 5 w 24"/>
                  <a:gd name="T33" fmla="*/ 0 h 16"/>
                  <a:gd name="T34" fmla="*/ 5 w 24"/>
                  <a:gd name="T35" fmla="*/ 0 h 16"/>
                  <a:gd name="T36" fmla="*/ 1 w 24"/>
                  <a:gd name="T37" fmla="*/ 3 h 16"/>
                  <a:gd name="T38" fmla="*/ 0 w 24"/>
                  <a:gd name="T39" fmla="*/ 16 h 16"/>
                  <a:gd name="T40" fmla="*/ 4 w 24"/>
                  <a:gd name="T41" fmla="*/ 16 h 16"/>
                  <a:gd name="T42" fmla="*/ 4 w 24"/>
                  <a:gd name="T43" fmla="*/ 6 h 16"/>
                  <a:gd name="T44" fmla="*/ 5 w 24"/>
                  <a:gd name="T45" fmla="*/ 6 h 16"/>
                  <a:gd name="T46" fmla="*/ 5 w 24"/>
                  <a:gd name="T47" fmla="*/ 16 h 16"/>
                  <a:gd name="T48" fmla="*/ 12 w 24"/>
                  <a:gd name="T49" fmla="*/ 16 h 16"/>
                  <a:gd name="T50" fmla="*/ 19 w 24"/>
                  <a:gd name="T51" fmla="*/ 16 h 16"/>
                  <a:gd name="T52" fmla="*/ 19 w 24"/>
                  <a:gd name="T53" fmla="*/ 6 h 16"/>
                  <a:gd name="T54" fmla="*/ 19 w 24"/>
                  <a:gd name="T55" fmla="*/ 6 h 16"/>
                  <a:gd name="T56" fmla="*/ 20 w 24"/>
                  <a:gd name="T57" fmla="*/ 6 h 16"/>
                  <a:gd name="T58" fmla="*/ 20 w 24"/>
                  <a:gd name="T59" fmla="*/ 16 h 16"/>
                  <a:gd name="T60" fmla="*/ 23 w 24"/>
                  <a:gd name="T61" fmla="*/ 16 h 16"/>
                  <a:gd name="T62" fmla="*/ 23 w 24"/>
                  <a:gd name="T63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16">
                    <a:moveTo>
                      <a:pt x="23" y="3"/>
                    </a:moveTo>
                    <a:cubicBezTo>
                      <a:pt x="22" y="1"/>
                      <a:pt x="20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2" y="1"/>
                      <a:pt x="1" y="3"/>
                    </a:cubicBezTo>
                    <a:cubicBezTo>
                      <a:pt x="0" y="5"/>
                      <a:pt x="0" y="11"/>
                      <a:pt x="0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5" y="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20" y="6"/>
                      <a:pt x="20" y="6"/>
                    </a:cubicBezTo>
                    <a:cubicBezTo>
                      <a:pt x="20" y="16"/>
                      <a:pt x="20" y="16"/>
                      <a:pt x="20" y="16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4" y="11"/>
                      <a:pt x="24" y="5"/>
                      <a:pt x="2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  <p:sp>
          <p:nvSpPr>
            <p:cNvPr id="35" name="圆角矩形 34"/>
            <p:cNvSpPr/>
            <p:nvPr/>
          </p:nvSpPr>
          <p:spPr>
            <a:xfrm>
              <a:off x="7333" y="3111"/>
              <a:ext cx="4570" cy="4570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  <a:effectLst>
              <a:outerShdw blurRad="1778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sp>
          <p:nvSpPr>
            <p:cNvPr id="36" name="圆角矩形 35"/>
            <p:cNvSpPr/>
            <p:nvPr/>
          </p:nvSpPr>
          <p:spPr>
            <a:xfrm>
              <a:off x="7495" y="3273"/>
              <a:ext cx="4246" cy="4246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grpSp>
          <p:nvGrpSpPr>
            <p:cNvPr id="37" name="组合 36"/>
            <p:cNvGrpSpPr/>
            <p:nvPr/>
          </p:nvGrpSpPr>
          <p:grpSpPr>
            <a:xfrm>
              <a:off x="8316" y="3055"/>
              <a:ext cx="2604" cy="2604"/>
              <a:chOff x="435203" y="2733903"/>
              <a:chExt cx="1644194" cy="1644194"/>
            </a:xfrm>
          </p:grpSpPr>
          <p:grpSp>
            <p:nvGrpSpPr>
              <p:cNvPr id="38" name="组合 37"/>
              <p:cNvGrpSpPr/>
              <p:nvPr/>
            </p:nvGrpSpPr>
            <p:grpSpPr>
              <a:xfrm>
                <a:off x="435203" y="2733903"/>
                <a:ext cx="1644194" cy="1644194"/>
                <a:chOff x="5219336" y="1411604"/>
                <a:chExt cx="2903584" cy="2903584"/>
              </a:xfrm>
            </p:grpSpPr>
            <p:sp>
              <p:nvSpPr>
                <p:cNvPr id="40" name="椭圆 39"/>
                <p:cNvSpPr/>
                <p:nvPr/>
              </p:nvSpPr>
              <p:spPr>
                <a:xfrm>
                  <a:off x="5219336" y="1411604"/>
                  <a:ext cx="2903584" cy="29035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F9F9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2700000" scaled="1"/>
                  <a:tileRect/>
                </a:gradFill>
                <a:ln w="31750">
                  <a:noFill/>
                </a:ln>
                <a:effectLst>
                  <a:softEdge rad="2159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41" name="椭圆 40"/>
                <p:cNvSpPr/>
                <p:nvPr/>
              </p:nvSpPr>
              <p:spPr>
                <a:xfrm>
                  <a:off x="5787323" y="1979591"/>
                  <a:ext cx="1767610" cy="1767610"/>
                </a:xfrm>
                <a:prstGeom prst="ellipse">
                  <a:avLst/>
                </a:prstGeom>
                <a:gradFill>
                  <a:gsLst>
                    <a:gs pos="100000">
                      <a:schemeClr val="bg1"/>
                    </a:gs>
                    <a:gs pos="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  <a:effectLst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42" name="椭圆 41"/>
                <p:cNvSpPr/>
                <p:nvPr/>
              </p:nvSpPr>
              <p:spPr>
                <a:xfrm>
                  <a:off x="5956263" y="2148531"/>
                  <a:ext cx="1429731" cy="1429731"/>
                </a:xfrm>
                <a:prstGeom prst="ellipse">
                  <a:avLst/>
                </a:prstGeom>
                <a:solidFill>
                  <a:srgbClr val="FFB8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43" name="椭圆 42"/>
                <p:cNvSpPr/>
                <p:nvPr/>
              </p:nvSpPr>
              <p:spPr>
                <a:xfrm>
                  <a:off x="6014084" y="2206352"/>
                  <a:ext cx="1314088" cy="1314088"/>
                </a:xfrm>
                <a:prstGeom prst="ellipse">
                  <a:avLst/>
                </a:prstGeom>
                <a:gradFill>
                  <a:gsLst>
                    <a:gs pos="0">
                      <a:srgbClr val="F7F7F7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44" name="椭圆 43"/>
                <p:cNvSpPr/>
                <p:nvPr/>
              </p:nvSpPr>
              <p:spPr>
                <a:xfrm>
                  <a:off x="6078822" y="2271090"/>
                  <a:ext cx="1184612" cy="1184612"/>
                </a:xfrm>
                <a:prstGeom prst="ellipse">
                  <a:avLst/>
                </a:prstGeom>
                <a:gradFill>
                  <a:gsLst>
                    <a:gs pos="0">
                      <a:schemeClr val="bg1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 w="31750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100000">
                        <a:schemeClr val="bg1"/>
                      </a:gs>
                    </a:gsLst>
                    <a:lin ang="2700000" scaled="1"/>
                    <a:tileRect/>
                  </a:gradFill>
                </a:ln>
                <a:effectLst>
                  <a:innerShdw blurRad="76200" dist="381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</p:grpSp>
          <p:sp>
            <p:nvSpPr>
              <p:cNvPr id="39" name="文本框 38"/>
              <p:cNvSpPr txBox="1"/>
              <p:nvPr/>
            </p:nvSpPr>
            <p:spPr>
              <a:xfrm>
                <a:off x="734830" y="3299204"/>
                <a:ext cx="1030514" cy="6021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algn="ctr"/>
                <a:r>
                  <a:rPr lang="en-US" altLang="zh-CN" sz="2800" dirty="0">
                    <a:solidFill>
                      <a:srgbClr val="FFB850"/>
                    </a:solidFill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rPr>
                  <a:t>02</a:t>
                </a:r>
                <a:endParaRPr lang="zh-CN" altLang="en-US" sz="2800" dirty="0">
                  <a:solidFill>
                    <a:srgbClr val="FFB850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  <p:sp>
          <p:nvSpPr>
            <p:cNvPr id="46" name="文本框 45"/>
            <p:cNvSpPr txBox="1"/>
            <p:nvPr/>
          </p:nvSpPr>
          <p:spPr>
            <a:xfrm>
              <a:off x="8103" y="5908"/>
              <a:ext cx="3029" cy="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000" dirty="0">
                  <a:solidFill>
                    <a:srgbClr val="FFB850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rPr>
                <a:t>课题研究</a:t>
              </a:r>
              <a:endParaRPr lang="zh-CN" altLang="en-US" sz="2000" dirty="0">
                <a:solidFill>
                  <a:srgbClr val="FFB850"/>
                </a:solidFill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sp>
          <p:nvSpPr>
            <p:cNvPr id="48" name="圆角矩形 47"/>
            <p:cNvSpPr/>
            <p:nvPr/>
          </p:nvSpPr>
          <p:spPr>
            <a:xfrm>
              <a:off x="12855" y="3111"/>
              <a:ext cx="4570" cy="4570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</a:ln>
            <a:effectLst>
              <a:outerShdw blurRad="177800" dist="88900" dir="2700000" algn="tl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13018" y="3273"/>
              <a:ext cx="4246" cy="4246"/>
            </a:xfrm>
            <a:prstGeom prst="roundRect">
              <a:avLst>
                <a:gd name="adj" fmla="val 14698"/>
              </a:avLst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2700000" scaled="1"/>
            </a:gradFill>
            <a:ln w="22225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grpSp>
          <p:nvGrpSpPr>
            <p:cNvPr id="25" name="组合 24"/>
            <p:cNvGrpSpPr/>
            <p:nvPr/>
          </p:nvGrpSpPr>
          <p:grpSpPr>
            <a:xfrm>
              <a:off x="13838" y="3055"/>
              <a:ext cx="2604" cy="2604"/>
              <a:chOff x="435203" y="2733903"/>
              <a:chExt cx="1644194" cy="1644194"/>
            </a:xfrm>
          </p:grpSpPr>
          <p:grpSp>
            <p:nvGrpSpPr>
              <p:cNvPr id="51" name="组合 50"/>
              <p:cNvGrpSpPr/>
              <p:nvPr/>
            </p:nvGrpSpPr>
            <p:grpSpPr>
              <a:xfrm>
                <a:off x="435203" y="2733903"/>
                <a:ext cx="1644194" cy="1644194"/>
                <a:chOff x="5219336" y="1411604"/>
                <a:chExt cx="2903584" cy="2903584"/>
              </a:xfrm>
            </p:grpSpPr>
            <p:sp>
              <p:nvSpPr>
                <p:cNvPr id="53" name="椭圆 52"/>
                <p:cNvSpPr/>
                <p:nvPr/>
              </p:nvSpPr>
              <p:spPr>
                <a:xfrm>
                  <a:off x="5219336" y="1411604"/>
                  <a:ext cx="2903584" cy="29035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9F9F9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2700000" scaled="1"/>
                  <a:tileRect/>
                </a:gradFill>
                <a:ln w="31750">
                  <a:noFill/>
                </a:ln>
                <a:effectLst>
                  <a:softEdge rad="2159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54" name="椭圆 53"/>
                <p:cNvSpPr/>
                <p:nvPr/>
              </p:nvSpPr>
              <p:spPr>
                <a:xfrm>
                  <a:off x="5787323" y="1979591"/>
                  <a:ext cx="1767610" cy="1767610"/>
                </a:xfrm>
                <a:prstGeom prst="ellipse">
                  <a:avLst/>
                </a:prstGeom>
                <a:gradFill>
                  <a:gsLst>
                    <a:gs pos="100000">
                      <a:schemeClr val="bg1"/>
                    </a:gs>
                    <a:gs pos="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  <a:effectLst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55" name="椭圆 54"/>
                <p:cNvSpPr/>
                <p:nvPr/>
              </p:nvSpPr>
              <p:spPr>
                <a:xfrm>
                  <a:off x="5956263" y="2148531"/>
                  <a:ext cx="1429731" cy="1429731"/>
                </a:xfrm>
                <a:prstGeom prst="ellipse">
                  <a:avLst/>
                </a:prstGeom>
                <a:solidFill>
                  <a:srgbClr val="E8707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56" name="椭圆 55"/>
                <p:cNvSpPr/>
                <p:nvPr/>
              </p:nvSpPr>
              <p:spPr>
                <a:xfrm>
                  <a:off x="6014084" y="2206352"/>
                  <a:ext cx="1314088" cy="1314088"/>
                </a:xfrm>
                <a:prstGeom prst="ellipse">
                  <a:avLst/>
                </a:prstGeom>
                <a:gradFill>
                  <a:gsLst>
                    <a:gs pos="0">
                      <a:srgbClr val="F7F7F7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  <p:sp>
              <p:nvSpPr>
                <p:cNvPr id="57" name="椭圆 56"/>
                <p:cNvSpPr/>
                <p:nvPr/>
              </p:nvSpPr>
              <p:spPr>
                <a:xfrm>
                  <a:off x="6078822" y="2271090"/>
                  <a:ext cx="1184612" cy="1184612"/>
                </a:xfrm>
                <a:prstGeom prst="ellipse">
                  <a:avLst/>
                </a:prstGeom>
                <a:gradFill>
                  <a:gsLst>
                    <a:gs pos="0">
                      <a:schemeClr val="bg1"/>
                    </a:gs>
                    <a:gs pos="100000">
                      <a:srgbClr val="D1D1D1"/>
                    </a:gs>
                  </a:gsLst>
                  <a:lin ang="2700000" scaled="1"/>
                </a:gradFill>
                <a:ln w="31750">
                  <a:gradFill flip="none" rotWithShape="1">
                    <a:gsLst>
                      <a:gs pos="0">
                        <a:schemeClr val="bg1">
                          <a:lumMod val="75000"/>
                        </a:schemeClr>
                      </a:gs>
                      <a:gs pos="100000">
                        <a:schemeClr val="bg1"/>
                      </a:gs>
                    </a:gsLst>
                    <a:lin ang="2700000" scaled="1"/>
                    <a:tileRect/>
                  </a:gradFill>
                </a:ln>
                <a:effectLst>
                  <a:innerShdw blurRad="76200" dist="381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p>
                  <a:pPr algn="ctr"/>
                  <a:endParaRPr lang="zh-CN" altLang="en-US" dirty="0"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endParaRPr>
                </a:p>
              </p:txBody>
            </p:sp>
          </p:grpSp>
          <p:sp>
            <p:nvSpPr>
              <p:cNvPr id="52" name="文本框 51"/>
              <p:cNvSpPr txBox="1"/>
              <p:nvPr/>
            </p:nvSpPr>
            <p:spPr>
              <a:xfrm>
                <a:off x="734830" y="3299204"/>
                <a:ext cx="1030514" cy="6021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pPr algn="ctr"/>
                <a:r>
                  <a:rPr lang="en-US" altLang="zh-CN" sz="2800" dirty="0">
                    <a:solidFill>
                      <a:srgbClr val="E87071"/>
                    </a:solidFill>
                    <a:latin typeface="字魂105号-简雅黑" panose="00000500000000000000" pitchFamily="2" charset="-122"/>
                    <a:ea typeface="字魂105号-简雅黑" panose="00000500000000000000" pitchFamily="2" charset="-122"/>
                    <a:sym typeface="字魂105号-简雅黑" panose="00000500000000000000" pitchFamily="2" charset="-122"/>
                  </a:rPr>
                  <a:t>03</a:t>
                </a:r>
                <a:endParaRPr lang="zh-CN" altLang="en-US" sz="2800" dirty="0">
                  <a:solidFill>
                    <a:srgbClr val="E87071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  <p:sp>
          <p:nvSpPr>
            <p:cNvPr id="59" name="文本框 58"/>
            <p:cNvSpPr txBox="1"/>
            <p:nvPr/>
          </p:nvSpPr>
          <p:spPr>
            <a:xfrm>
              <a:off x="13730" y="5830"/>
              <a:ext cx="3029" cy="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000" dirty="0">
                  <a:solidFill>
                    <a:srgbClr val="E87071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rPr>
                <a:t>撰写论文</a:t>
              </a:r>
              <a:endParaRPr lang="zh-CN" altLang="en-US" sz="2000" dirty="0">
                <a:solidFill>
                  <a:srgbClr val="E87071"/>
                </a:solidFill>
                <a:latin typeface="字魂105号-简雅黑" panose="00000500000000000000" pitchFamily="2" charset="-122"/>
                <a:ea typeface="字魂105号-简雅黑" panose="00000500000000000000" pitchFamily="2" charset="-122"/>
                <a:sym typeface="字魂105号-简雅黑" panose="00000500000000000000" pitchFamily="2" charset="-122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10764" y="5809"/>
              <a:ext cx="732" cy="796"/>
              <a:chOff x="4873620" y="1965325"/>
              <a:chExt cx="269882" cy="293688"/>
            </a:xfrm>
            <a:solidFill>
              <a:schemeClr val="bg1">
                <a:lumMod val="75000"/>
              </a:schemeClr>
            </a:solidFill>
            <a:effectLst/>
          </p:grpSpPr>
          <p:sp>
            <p:nvSpPr>
              <p:cNvPr id="31" name="Freeform 502"/>
              <p:cNvSpPr/>
              <p:nvPr/>
            </p:nvSpPr>
            <p:spPr bwMode="auto">
              <a:xfrm>
                <a:off x="4873620" y="2127250"/>
                <a:ext cx="112713" cy="131763"/>
              </a:xfrm>
              <a:custGeom>
                <a:avLst/>
                <a:gdLst>
                  <a:gd name="T0" fmla="*/ 2 w 30"/>
                  <a:gd name="T1" fmla="*/ 0 h 35"/>
                  <a:gd name="T2" fmla="*/ 28 w 30"/>
                  <a:gd name="T3" fmla="*/ 0 h 35"/>
                  <a:gd name="T4" fmla="*/ 30 w 30"/>
                  <a:gd name="T5" fmla="*/ 1 h 35"/>
                  <a:gd name="T6" fmla="*/ 28 w 30"/>
                  <a:gd name="T7" fmla="*/ 3 h 35"/>
                  <a:gd name="T8" fmla="*/ 3 w 30"/>
                  <a:gd name="T9" fmla="*/ 3 h 35"/>
                  <a:gd name="T10" fmla="*/ 3 w 30"/>
                  <a:gd name="T11" fmla="*/ 33 h 35"/>
                  <a:gd name="T12" fmla="*/ 2 w 30"/>
                  <a:gd name="T13" fmla="*/ 35 h 35"/>
                  <a:gd name="T14" fmla="*/ 0 w 30"/>
                  <a:gd name="T15" fmla="*/ 33 h 35"/>
                  <a:gd name="T16" fmla="*/ 0 w 30"/>
                  <a:gd name="T17" fmla="*/ 1 h 35"/>
                  <a:gd name="T18" fmla="*/ 2 w 30"/>
                  <a:gd name="T1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5">
                    <a:moveTo>
                      <a:pt x="2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9" y="0"/>
                      <a:pt x="30" y="1"/>
                      <a:pt x="30" y="1"/>
                    </a:cubicBezTo>
                    <a:cubicBezTo>
                      <a:pt x="30" y="2"/>
                      <a:pt x="29" y="3"/>
                      <a:pt x="28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34"/>
                      <a:pt x="3" y="35"/>
                      <a:pt x="2" y="35"/>
                    </a:cubicBezTo>
                    <a:cubicBezTo>
                      <a:pt x="1" y="35"/>
                      <a:pt x="0" y="34"/>
                      <a:pt x="0" y="33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32" name="Freeform 503"/>
              <p:cNvSpPr/>
              <p:nvPr/>
            </p:nvSpPr>
            <p:spPr bwMode="auto">
              <a:xfrm>
                <a:off x="4884737" y="1973263"/>
                <a:ext cx="41275" cy="146050"/>
              </a:xfrm>
              <a:custGeom>
                <a:avLst/>
                <a:gdLst>
                  <a:gd name="T0" fmla="*/ 11 w 11"/>
                  <a:gd name="T1" fmla="*/ 34 h 39"/>
                  <a:gd name="T2" fmla="*/ 11 w 11"/>
                  <a:gd name="T3" fmla="*/ 6 h 39"/>
                  <a:gd name="T4" fmla="*/ 5 w 11"/>
                  <a:gd name="T5" fmla="*/ 0 h 39"/>
                  <a:gd name="T6" fmla="*/ 0 w 11"/>
                  <a:gd name="T7" fmla="*/ 6 h 39"/>
                  <a:gd name="T8" fmla="*/ 0 w 11"/>
                  <a:gd name="T9" fmla="*/ 34 h 39"/>
                  <a:gd name="T10" fmla="*/ 5 w 11"/>
                  <a:gd name="T11" fmla="*/ 39 h 39"/>
                  <a:gd name="T12" fmla="*/ 11 w 11"/>
                  <a:gd name="T13" fmla="*/ 3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9">
                    <a:moveTo>
                      <a:pt x="11" y="34"/>
                    </a:moveTo>
                    <a:cubicBezTo>
                      <a:pt x="11" y="6"/>
                      <a:pt x="11" y="6"/>
                      <a:pt x="11" y="6"/>
                    </a:cubicBezTo>
                    <a:cubicBezTo>
                      <a:pt x="11" y="3"/>
                      <a:pt x="9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7"/>
                      <a:pt x="2" y="39"/>
                      <a:pt x="5" y="39"/>
                    </a:cubicBezTo>
                    <a:cubicBezTo>
                      <a:pt x="9" y="39"/>
                      <a:pt x="11" y="37"/>
                      <a:pt x="1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33" name="Freeform 504"/>
              <p:cNvSpPr/>
              <p:nvPr/>
            </p:nvSpPr>
            <p:spPr bwMode="auto">
              <a:xfrm>
                <a:off x="4940303" y="1965325"/>
                <a:ext cx="177800" cy="293688"/>
              </a:xfrm>
              <a:custGeom>
                <a:avLst/>
                <a:gdLst>
                  <a:gd name="T0" fmla="*/ 5 w 47"/>
                  <a:gd name="T1" fmla="*/ 69 h 78"/>
                  <a:gd name="T2" fmla="*/ 6 w 47"/>
                  <a:gd name="T3" fmla="*/ 77 h 78"/>
                  <a:gd name="T4" fmla="*/ 9 w 47"/>
                  <a:gd name="T5" fmla="*/ 78 h 78"/>
                  <a:gd name="T6" fmla="*/ 14 w 47"/>
                  <a:gd name="T7" fmla="*/ 76 h 78"/>
                  <a:gd name="T8" fmla="*/ 26 w 47"/>
                  <a:gd name="T9" fmla="*/ 57 h 78"/>
                  <a:gd name="T10" fmla="*/ 46 w 47"/>
                  <a:gd name="T11" fmla="*/ 57 h 78"/>
                  <a:gd name="T12" fmla="*/ 47 w 47"/>
                  <a:gd name="T13" fmla="*/ 56 h 78"/>
                  <a:gd name="T14" fmla="*/ 47 w 47"/>
                  <a:gd name="T15" fmla="*/ 42 h 78"/>
                  <a:gd name="T16" fmla="*/ 32 w 47"/>
                  <a:gd name="T17" fmla="*/ 19 h 78"/>
                  <a:gd name="T18" fmla="*/ 30 w 47"/>
                  <a:gd name="T19" fmla="*/ 20 h 78"/>
                  <a:gd name="T20" fmla="*/ 35 w 47"/>
                  <a:gd name="T21" fmla="*/ 10 h 78"/>
                  <a:gd name="T22" fmla="*/ 24 w 47"/>
                  <a:gd name="T23" fmla="*/ 0 h 78"/>
                  <a:gd name="T24" fmla="*/ 14 w 47"/>
                  <a:gd name="T25" fmla="*/ 10 h 78"/>
                  <a:gd name="T26" fmla="*/ 24 w 47"/>
                  <a:gd name="T27" fmla="*/ 21 h 78"/>
                  <a:gd name="T28" fmla="*/ 27 w 47"/>
                  <a:gd name="T29" fmla="*/ 20 h 78"/>
                  <a:gd name="T30" fmla="*/ 21 w 47"/>
                  <a:gd name="T31" fmla="*/ 27 h 78"/>
                  <a:gd name="T32" fmla="*/ 5 w 47"/>
                  <a:gd name="T33" fmla="*/ 31 h 78"/>
                  <a:gd name="T34" fmla="*/ 1 w 47"/>
                  <a:gd name="T35" fmla="*/ 34 h 78"/>
                  <a:gd name="T36" fmla="*/ 1 w 47"/>
                  <a:gd name="T37" fmla="*/ 38 h 78"/>
                  <a:gd name="T38" fmla="*/ 6 w 47"/>
                  <a:gd name="T39" fmla="*/ 42 h 78"/>
                  <a:gd name="T40" fmla="*/ 8 w 47"/>
                  <a:gd name="T41" fmla="*/ 42 h 78"/>
                  <a:gd name="T42" fmla="*/ 17 w 47"/>
                  <a:gd name="T43" fmla="*/ 40 h 78"/>
                  <a:gd name="T44" fmla="*/ 17 w 47"/>
                  <a:gd name="T45" fmla="*/ 43 h 78"/>
                  <a:gd name="T46" fmla="*/ 17 w 47"/>
                  <a:gd name="T47" fmla="*/ 47 h 78"/>
                  <a:gd name="T48" fmla="*/ 5 w 47"/>
                  <a:gd name="T49" fmla="*/ 6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" h="78">
                    <a:moveTo>
                      <a:pt x="5" y="69"/>
                    </a:moveTo>
                    <a:cubicBezTo>
                      <a:pt x="3" y="72"/>
                      <a:pt x="3" y="76"/>
                      <a:pt x="6" y="77"/>
                    </a:cubicBezTo>
                    <a:cubicBezTo>
                      <a:pt x="7" y="78"/>
                      <a:pt x="8" y="78"/>
                      <a:pt x="9" y="78"/>
                    </a:cubicBezTo>
                    <a:cubicBezTo>
                      <a:pt x="11" y="78"/>
                      <a:pt x="13" y="77"/>
                      <a:pt x="14" y="76"/>
                    </a:cubicBezTo>
                    <a:cubicBezTo>
                      <a:pt x="26" y="57"/>
                      <a:pt x="26" y="57"/>
                      <a:pt x="2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7" y="57"/>
                      <a:pt x="47" y="57"/>
                      <a:pt x="47" y="56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7" y="29"/>
                      <a:pt x="41" y="19"/>
                      <a:pt x="32" y="19"/>
                    </a:cubicBezTo>
                    <a:cubicBezTo>
                      <a:pt x="31" y="19"/>
                      <a:pt x="30" y="19"/>
                      <a:pt x="30" y="20"/>
                    </a:cubicBezTo>
                    <a:cubicBezTo>
                      <a:pt x="33" y="18"/>
                      <a:pt x="35" y="14"/>
                      <a:pt x="35" y="10"/>
                    </a:cubicBezTo>
                    <a:cubicBezTo>
                      <a:pt x="35" y="5"/>
                      <a:pt x="30" y="0"/>
                      <a:pt x="24" y="0"/>
                    </a:cubicBezTo>
                    <a:cubicBezTo>
                      <a:pt x="19" y="0"/>
                      <a:pt x="14" y="5"/>
                      <a:pt x="14" y="10"/>
                    </a:cubicBezTo>
                    <a:cubicBezTo>
                      <a:pt x="14" y="16"/>
                      <a:pt x="19" y="21"/>
                      <a:pt x="24" y="21"/>
                    </a:cubicBezTo>
                    <a:cubicBezTo>
                      <a:pt x="25" y="21"/>
                      <a:pt x="26" y="21"/>
                      <a:pt x="27" y="20"/>
                    </a:cubicBezTo>
                    <a:cubicBezTo>
                      <a:pt x="25" y="22"/>
                      <a:pt x="23" y="24"/>
                      <a:pt x="21" y="27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3" y="32"/>
                      <a:pt x="2" y="32"/>
                      <a:pt x="1" y="34"/>
                    </a:cubicBezTo>
                    <a:cubicBezTo>
                      <a:pt x="1" y="35"/>
                      <a:pt x="0" y="37"/>
                      <a:pt x="1" y="38"/>
                    </a:cubicBezTo>
                    <a:cubicBezTo>
                      <a:pt x="1" y="41"/>
                      <a:pt x="4" y="42"/>
                      <a:pt x="6" y="42"/>
                    </a:cubicBezTo>
                    <a:cubicBezTo>
                      <a:pt x="7" y="42"/>
                      <a:pt x="7" y="42"/>
                      <a:pt x="8" y="42"/>
                    </a:cubicBezTo>
                    <a:cubicBezTo>
                      <a:pt x="17" y="40"/>
                      <a:pt x="17" y="40"/>
                      <a:pt x="17" y="40"/>
                    </a:cubicBezTo>
                    <a:cubicBezTo>
                      <a:pt x="17" y="41"/>
                      <a:pt x="17" y="42"/>
                      <a:pt x="17" y="43"/>
                    </a:cubicBezTo>
                    <a:cubicBezTo>
                      <a:pt x="17" y="47"/>
                      <a:pt x="17" y="47"/>
                      <a:pt x="17" y="47"/>
                    </a:cubicBezTo>
                    <a:lnTo>
                      <a:pt x="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34" name="Freeform 505"/>
              <p:cNvSpPr/>
              <p:nvPr/>
            </p:nvSpPr>
            <p:spPr bwMode="auto">
              <a:xfrm>
                <a:off x="5046664" y="2093913"/>
                <a:ext cx="96838" cy="112713"/>
              </a:xfrm>
              <a:custGeom>
                <a:avLst/>
                <a:gdLst>
                  <a:gd name="T0" fmla="*/ 1 w 26"/>
                  <a:gd name="T1" fmla="*/ 27 h 30"/>
                  <a:gd name="T2" fmla="*/ 23 w 26"/>
                  <a:gd name="T3" fmla="*/ 27 h 30"/>
                  <a:gd name="T4" fmla="*/ 23 w 26"/>
                  <a:gd name="T5" fmla="*/ 2 h 30"/>
                  <a:gd name="T6" fmla="*/ 24 w 26"/>
                  <a:gd name="T7" fmla="*/ 0 h 30"/>
                  <a:gd name="T8" fmla="*/ 26 w 26"/>
                  <a:gd name="T9" fmla="*/ 2 h 30"/>
                  <a:gd name="T10" fmla="*/ 26 w 26"/>
                  <a:gd name="T11" fmla="*/ 28 h 30"/>
                  <a:gd name="T12" fmla="*/ 24 w 26"/>
                  <a:gd name="T13" fmla="*/ 30 h 30"/>
                  <a:gd name="T14" fmla="*/ 1 w 26"/>
                  <a:gd name="T15" fmla="*/ 30 h 30"/>
                  <a:gd name="T16" fmla="*/ 0 w 26"/>
                  <a:gd name="T17" fmla="*/ 28 h 30"/>
                  <a:gd name="T18" fmla="*/ 1 w 26"/>
                  <a:gd name="T19" fmla="*/ 2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0">
                    <a:moveTo>
                      <a:pt x="1" y="27"/>
                    </a:moveTo>
                    <a:cubicBezTo>
                      <a:pt x="23" y="27"/>
                      <a:pt x="23" y="27"/>
                      <a:pt x="23" y="27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3" y="0"/>
                      <a:pt x="24" y="0"/>
                    </a:cubicBezTo>
                    <a:cubicBezTo>
                      <a:pt x="25" y="0"/>
                      <a:pt x="26" y="1"/>
                      <a:pt x="26" y="2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6" y="29"/>
                      <a:pt x="25" y="30"/>
                      <a:pt x="24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0"/>
                      <a:pt x="0" y="29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  <p:grpSp>
          <p:nvGrpSpPr>
            <p:cNvPr id="26" name="Group 18"/>
            <p:cNvGrpSpPr>
              <a:grpSpLocks noChangeAspect="1"/>
            </p:cNvGrpSpPr>
            <p:nvPr/>
          </p:nvGrpSpPr>
          <p:grpSpPr bwMode="auto">
            <a:xfrm>
              <a:off x="16234" y="5815"/>
              <a:ext cx="711" cy="663"/>
              <a:chOff x="3802" y="2858"/>
              <a:chExt cx="616" cy="574"/>
            </a:xfrm>
            <a:solidFill>
              <a:schemeClr val="bg1">
                <a:lumMod val="75000"/>
              </a:schemeClr>
            </a:solidFill>
            <a:effectLst/>
          </p:grpSpPr>
          <p:sp>
            <p:nvSpPr>
              <p:cNvPr id="27" name="Rectangle 19"/>
              <p:cNvSpPr>
                <a:spLocks noChangeArrowheads="1"/>
              </p:cNvSpPr>
              <p:nvPr/>
            </p:nvSpPr>
            <p:spPr bwMode="auto">
              <a:xfrm>
                <a:off x="3802" y="3205"/>
                <a:ext cx="129" cy="22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28" name="Rectangle 20"/>
              <p:cNvSpPr>
                <a:spLocks noChangeArrowheads="1"/>
              </p:cNvSpPr>
              <p:nvPr/>
            </p:nvSpPr>
            <p:spPr bwMode="auto">
              <a:xfrm>
                <a:off x="3964" y="3174"/>
                <a:ext cx="129" cy="25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29" name="Rectangle 21"/>
              <p:cNvSpPr>
                <a:spLocks noChangeArrowheads="1"/>
              </p:cNvSpPr>
              <p:nvPr/>
            </p:nvSpPr>
            <p:spPr bwMode="auto">
              <a:xfrm>
                <a:off x="4129" y="3131"/>
                <a:ext cx="129" cy="30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61" name="Rectangle 22"/>
              <p:cNvSpPr>
                <a:spLocks noChangeArrowheads="1"/>
              </p:cNvSpPr>
              <p:nvPr/>
            </p:nvSpPr>
            <p:spPr bwMode="auto">
              <a:xfrm>
                <a:off x="4289" y="3078"/>
                <a:ext cx="129" cy="35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  <p:sp>
            <p:nvSpPr>
              <p:cNvPr id="62" name="Freeform 23"/>
              <p:cNvSpPr/>
              <p:nvPr/>
            </p:nvSpPr>
            <p:spPr bwMode="auto">
              <a:xfrm>
                <a:off x="3888" y="2858"/>
                <a:ext cx="370" cy="270"/>
              </a:xfrm>
              <a:custGeom>
                <a:avLst/>
                <a:gdLst>
                  <a:gd name="T0" fmla="*/ 94 w 155"/>
                  <a:gd name="T1" fmla="*/ 21 h 113"/>
                  <a:gd name="T2" fmla="*/ 0 w 155"/>
                  <a:gd name="T3" fmla="*/ 72 h 113"/>
                  <a:gd name="T4" fmla="*/ 114 w 155"/>
                  <a:gd name="T5" fmla="*/ 63 h 113"/>
                  <a:gd name="T6" fmla="*/ 122 w 155"/>
                  <a:gd name="T7" fmla="*/ 82 h 113"/>
                  <a:gd name="T8" fmla="*/ 155 w 155"/>
                  <a:gd name="T9" fmla="*/ 0 h 113"/>
                  <a:gd name="T10" fmla="*/ 85 w 155"/>
                  <a:gd name="T11" fmla="*/ 2 h 113"/>
                  <a:gd name="T12" fmla="*/ 94 w 155"/>
                  <a:gd name="T13" fmla="*/ 2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3">
                    <a:moveTo>
                      <a:pt x="94" y="21"/>
                    </a:moveTo>
                    <a:cubicBezTo>
                      <a:pt x="85" y="33"/>
                      <a:pt x="53" y="68"/>
                      <a:pt x="0" y="72"/>
                    </a:cubicBezTo>
                    <a:cubicBezTo>
                      <a:pt x="0" y="72"/>
                      <a:pt x="31" y="113"/>
                      <a:pt x="114" y="63"/>
                    </a:cubicBezTo>
                    <a:cubicBezTo>
                      <a:pt x="122" y="82"/>
                      <a:pt x="122" y="82"/>
                      <a:pt x="122" y="82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85" y="2"/>
                      <a:pt x="85" y="2"/>
                      <a:pt x="85" y="2"/>
                    </a:cubicBezTo>
                    <a:lnTo>
                      <a:pt x="94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 dirty="0">
                  <a:solidFill>
                    <a:prstClr val="black"/>
                  </a:solidFill>
                  <a:latin typeface="字魂105号-简雅黑" panose="00000500000000000000" pitchFamily="2" charset="-122"/>
                  <a:ea typeface="字魂105号-简雅黑" panose="00000500000000000000" pitchFamily="2" charset="-122"/>
                  <a:sym typeface="字魂105号-简雅黑" panose="00000500000000000000" pitchFamily="2" charset="-122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1490980" y="2413635"/>
          <a:ext cx="6161405" cy="2022475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982980"/>
                <a:gridCol w="2668270"/>
                <a:gridCol w="1198880"/>
                <a:gridCol w="1311275"/>
              </a:tblGrid>
              <a:tr h="4044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姓名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工作室名称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级别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分工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</a:tr>
              <a:tr h="4044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 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国家级人工智能实验区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国家级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实验校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</a:tr>
              <a:tr h="4044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张玲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江苏省沈小伟名师工作室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省级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核心成员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</a:tr>
              <a:tr h="4044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张玲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新北区韦国名师工作室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区级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核心成员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</a:tr>
              <a:tr h="4044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杨明武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江苏省沈小伟名师工作室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省级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成员</a:t>
                      </a:r>
                      <a:endParaRPr lang="en-US" altLang="en-US" sz="1600"/>
                    </a:p>
                  </a:txBody>
                  <a:tcPr marL="68580" marR="68580" marT="0" marB="0" vert="horz" anchor="t" anchorCtr="0"/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608330" y="1426845"/>
            <a:ext cx="7926705" cy="70675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304800"/>
            <a:r>
              <a:rPr lang="en-US" altLang="zh-CN" sz="2000" b="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 </a:t>
            </a:r>
            <a:r>
              <a:rPr lang="zh-CN" sz="2000" b="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信息组有一名青叶团教师，一名桃李团教师。积极发扬骨干教师的带头引领作用，提升教师的课堂教学能力。</a:t>
            </a:r>
            <a:endParaRPr lang="zh-CN" altLang="en-US" sz="2000" b="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20675" y="852805"/>
            <a:ext cx="5080000" cy="4603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en-US" alt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3</a:t>
            </a:r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、明确梯队成长目标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6" name="图片 5" descr="&amp;pky97175844297&amp;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2385" y="3575050"/>
            <a:ext cx="1548765" cy="1568450"/>
          </a:xfrm>
          <a:prstGeom prst="rect">
            <a:avLst/>
          </a:prstGeom>
        </p:spPr>
      </p:pic>
      <p:pic>
        <p:nvPicPr>
          <p:cNvPr id="8" name="图片 7" descr="log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323215" y="901065"/>
            <a:ext cx="324231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4</a:t>
            </a:r>
            <a:r>
              <a:rPr lang="zh-CN" altLang="en-US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、</a:t>
            </a:r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提升课堂教学能力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39330" y="3349625"/>
            <a:ext cx="1804670" cy="1910715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294640" y="1555115"/>
            <a:ext cx="5234940" cy="175323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sz="1800" b="1">
                <a:solidFill>
                  <a:srgbClr val="000000"/>
                </a:solidFill>
                <a:ea typeface="宋体" panose="02010600030101010101" pitchFamily="2" charset="-122"/>
              </a:rPr>
              <a:t>（1）落实课堂规程：</a:t>
            </a:r>
            <a:r>
              <a:rPr lang="zh-CN" sz="1800" b="0">
                <a:solidFill>
                  <a:srgbClr val="000000"/>
                </a:solidFill>
                <a:ea typeface="宋体" panose="02010600030101010101" pitchFamily="2" charset="-122"/>
              </a:rPr>
              <a:t>在学科组内内化我校弘雅课堂关键词：“向美”、“挑战”、“生长”，遵循“弘雅”信息科技课堂规程落实常规到日常，明确价值内涵和评价标准，不断强化教师的管理思维，从被动的规则认知逐步走向自觉的教学规范。</a:t>
            </a:r>
            <a:endParaRPr lang="zh-CN" sz="1800">
              <a:solidFill>
                <a:srgbClr val="000000"/>
              </a:solidFill>
              <a:ea typeface="宋体" panose="02010600030101010101" pitchFamily="2" charset="-122"/>
            </a:endParaRPr>
          </a:p>
          <a:p>
            <a:endParaRPr lang="zh-CN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23215" y="3496945"/>
            <a:ext cx="7016115" cy="6451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indent="0"/>
            <a:r>
              <a:rPr lang="zh-CN" b="1">
                <a:solidFill>
                  <a:srgbClr val="000000"/>
                </a:solidFill>
                <a:ea typeface="宋体" panose="02010600030101010101" pitchFamily="2" charset="-122"/>
                <a:sym typeface="+mn-ea"/>
              </a:rPr>
              <a:t>（</a:t>
            </a:r>
            <a:r>
              <a:rPr lang="en-US" b="1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2</a:t>
            </a:r>
            <a:r>
              <a:rPr lang="zh-CN" b="1">
                <a:solidFill>
                  <a:srgbClr val="000000"/>
                </a:solidFill>
                <a:ea typeface="宋体" panose="02010600030101010101" pitchFamily="2" charset="-122"/>
                <a:sym typeface="+mn-ea"/>
              </a:rPr>
              <a:t>）打磨新优质精品课：</a:t>
            </a:r>
            <a:r>
              <a:rPr lang="zh-CN">
                <a:solidFill>
                  <a:srgbClr val="000000"/>
                </a:solidFill>
                <a:ea typeface="宋体" panose="02010600030101010101" pitchFamily="2" charset="-122"/>
                <a:sym typeface="+mn-ea"/>
              </a:rPr>
              <a:t>继续实施学校层面的教研机制，通过主题化教研，精品课的打磨，提升课堂教学能力。</a:t>
            </a:r>
            <a:endParaRPr lang="zh-CN" altLang="en-US"/>
          </a:p>
        </p:txBody>
      </p:sp>
      <p:grpSp>
        <p:nvGrpSpPr>
          <p:cNvPr id="8" name="组合 7"/>
          <p:cNvGrpSpPr/>
          <p:nvPr/>
        </p:nvGrpSpPr>
        <p:grpSpPr>
          <a:xfrm>
            <a:off x="5529580" y="916305"/>
            <a:ext cx="2396490" cy="2188210"/>
            <a:chOff x="7488" y="1678"/>
            <a:chExt cx="3774" cy="3446"/>
          </a:xfrm>
        </p:grpSpPr>
        <p:grpSp>
          <p:nvGrpSpPr>
            <p:cNvPr id="7" name="组合 6"/>
            <p:cNvGrpSpPr/>
            <p:nvPr/>
          </p:nvGrpSpPr>
          <p:grpSpPr>
            <a:xfrm>
              <a:off x="7488" y="1678"/>
              <a:ext cx="3774" cy="3446"/>
              <a:chOff x="5482" y="1833"/>
              <a:chExt cx="6731" cy="6145"/>
            </a:xfrm>
          </p:grpSpPr>
          <p:grpSp>
            <p:nvGrpSpPr>
              <p:cNvPr id="33" name="Group 4"/>
              <p:cNvGrpSpPr/>
              <p:nvPr/>
            </p:nvGrpSpPr>
            <p:grpSpPr>
              <a:xfrm rot="0">
                <a:off x="5482" y="4455"/>
                <a:ext cx="5266" cy="3523"/>
                <a:chOff x="6129675" y="3646713"/>
                <a:chExt cx="3919073" cy="2621529"/>
              </a:xfrm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grpSpPr>
            <p:sp>
              <p:nvSpPr>
                <p:cNvPr id="61" name="Freeform 5"/>
                <p:cNvSpPr/>
                <p:nvPr/>
              </p:nvSpPr>
              <p:spPr bwMode="auto">
                <a:xfrm>
                  <a:off x="6129675" y="3681697"/>
                  <a:ext cx="3919073" cy="2586545"/>
                </a:xfrm>
                <a:custGeom>
                  <a:avLst/>
                  <a:gdLst>
                    <a:gd name="T0" fmla="*/ 37 w 1723"/>
                    <a:gd name="T1" fmla="*/ 721 h 1138"/>
                    <a:gd name="T2" fmla="*/ 451 w 1723"/>
                    <a:gd name="T3" fmla="*/ 0 h 1138"/>
                    <a:gd name="T4" fmla="*/ 451 w 1723"/>
                    <a:gd name="T5" fmla="*/ 0 h 1138"/>
                    <a:gd name="T6" fmla="*/ 634 w 1723"/>
                    <a:gd name="T7" fmla="*/ 605 h 1138"/>
                    <a:gd name="T8" fmla="*/ 1330 w 1723"/>
                    <a:gd name="T9" fmla="*/ 579 h 1138"/>
                    <a:gd name="T10" fmla="*/ 1446 w 1723"/>
                    <a:gd name="T11" fmla="*/ 325 h 1138"/>
                    <a:gd name="T12" fmla="*/ 1277 w 1723"/>
                    <a:gd name="T13" fmla="*/ 32 h 1138"/>
                    <a:gd name="T14" fmla="*/ 1071 w 1723"/>
                    <a:gd name="T15" fmla="*/ 1138 h 1138"/>
                    <a:gd name="T16" fmla="*/ 1071 w 1723"/>
                    <a:gd name="T17" fmla="*/ 1138 h 1138"/>
                    <a:gd name="T18" fmla="*/ 279 w 1723"/>
                    <a:gd name="T19" fmla="*/ 1138 h 1138"/>
                    <a:gd name="T20" fmla="*/ 0 w 1723"/>
                    <a:gd name="T21" fmla="*/ 860 h 1138"/>
                    <a:gd name="T22" fmla="*/ 37 w 1723"/>
                    <a:gd name="T23" fmla="*/ 721 h 1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23" h="1138">
                      <a:moveTo>
                        <a:pt x="37" y="721"/>
                      </a:moveTo>
                      <a:cubicBezTo>
                        <a:pt x="451" y="0"/>
                        <a:pt x="451" y="0"/>
                        <a:pt x="451" y="0"/>
                      </a:cubicBezTo>
                      <a:cubicBezTo>
                        <a:pt x="451" y="0"/>
                        <a:pt x="451" y="0"/>
                        <a:pt x="451" y="0"/>
                      </a:cubicBezTo>
                      <a:cubicBezTo>
                        <a:pt x="342" y="265"/>
                        <a:pt x="450" y="484"/>
                        <a:pt x="634" y="605"/>
                      </a:cubicBezTo>
                      <a:cubicBezTo>
                        <a:pt x="828" y="733"/>
                        <a:pt x="1106" y="750"/>
                        <a:pt x="1330" y="579"/>
                      </a:cubicBezTo>
                      <a:cubicBezTo>
                        <a:pt x="1401" y="517"/>
                        <a:pt x="1446" y="426"/>
                        <a:pt x="1446" y="325"/>
                      </a:cubicBezTo>
                      <a:cubicBezTo>
                        <a:pt x="1446" y="196"/>
                        <a:pt x="1378" y="96"/>
                        <a:pt x="1277" y="32"/>
                      </a:cubicBezTo>
                      <a:cubicBezTo>
                        <a:pt x="1723" y="311"/>
                        <a:pt x="1648" y="1131"/>
                        <a:pt x="1071" y="1138"/>
                      </a:cubicBezTo>
                      <a:cubicBezTo>
                        <a:pt x="1071" y="1138"/>
                        <a:pt x="1071" y="1138"/>
                        <a:pt x="1071" y="1138"/>
                      </a:cubicBezTo>
                      <a:cubicBezTo>
                        <a:pt x="279" y="1138"/>
                        <a:pt x="279" y="1138"/>
                        <a:pt x="279" y="1138"/>
                      </a:cubicBezTo>
                      <a:cubicBezTo>
                        <a:pt x="125" y="1138"/>
                        <a:pt x="0" y="1014"/>
                        <a:pt x="0" y="860"/>
                      </a:cubicBezTo>
                      <a:cubicBezTo>
                        <a:pt x="0" y="809"/>
                        <a:pt x="13" y="762"/>
                        <a:pt x="37" y="721"/>
                      </a:cubicBez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2" name="Freeform 9"/>
                <p:cNvSpPr/>
                <p:nvPr/>
              </p:nvSpPr>
              <p:spPr bwMode="auto">
                <a:xfrm>
                  <a:off x="6651927" y="3646713"/>
                  <a:ext cx="2134589" cy="1979694"/>
                </a:xfrm>
                <a:custGeom>
                  <a:avLst/>
                  <a:gdLst>
                    <a:gd name="T0" fmla="*/ 939 w 939"/>
                    <a:gd name="T1" fmla="*/ 677 h 871"/>
                    <a:gd name="T2" fmla="*/ 214 w 939"/>
                    <a:gd name="T3" fmla="*/ 0 h 871"/>
                    <a:gd name="T4" fmla="*/ 939 w 939"/>
                    <a:gd name="T5" fmla="*/ 677 h 8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39" h="871">
                      <a:moveTo>
                        <a:pt x="939" y="677"/>
                      </a:moveTo>
                      <a:cubicBezTo>
                        <a:pt x="419" y="871"/>
                        <a:pt x="0" y="457"/>
                        <a:pt x="214" y="0"/>
                      </a:cubicBezTo>
                      <a:cubicBezTo>
                        <a:pt x="37" y="499"/>
                        <a:pt x="468" y="810"/>
                        <a:pt x="939" y="677"/>
                      </a:cubicBezTo>
                      <a:close/>
                    </a:path>
                  </a:pathLst>
                </a:custGeom>
                <a:solidFill>
                  <a:srgbClr val="FEBF8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4" name="Group 3"/>
              <p:cNvGrpSpPr/>
              <p:nvPr/>
            </p:nvGrpSpPr>
            <p:grpSpPr>
              <a:xfrm rot="0">
                <a:off x="7794" y="2886"/>
                <a:ext cx="4419" cy="5082"/>
                <a:chOff x="7849922" y="2479348"/>
                <a:chExt cx="3288880" cy="3781493"/>
              </a:xfrm>
              <a:effectLst>
                <a:outerShdw blurRad="38100" dist="25400" dir="5400000" algn="ctr" rotWithShape="0">
                  <a:srgbClr val="000000">
                    <a:alpha val="20000"/>
                  </a:srgbClr>
                </a:outerShdw>
              </a:effectLst>
            </p:grpSpPr>
            <p:sp>
              <p:nvSpPr>
                <p:cNvPr id="59" name="Freeform 7"/>
                <p:cNvSpPr/>
                <p:nvPr/>
              </p:nvSpPr>
              <p:spPr bwMode="auto">
                <a:xfrm>
                  <a:off x="7849922" y="2479348"/>
                  <a:ext cx="3288880" cy="3738713"/>
                </a:xfrm>
                <a:custGeom>
                  <a:avLst/>
                  <a:gdLst>
                    <a:gd name="T0" fmla="*/ 992 w 1446"/>
                    <a:gd name="T1" fmla="*/ 501 h 1645"/>
                    <a:gd name="T2" fmla="*/ 1409 w 1446"/>
                    <a:gd name="T3" fmla="*/ 1228 h 1645"/>
                    <a:gd name="T4" fmla="*/ 1446 w 1446"/>
                    <a:gd name="T5" fmla="*/ 1367 h 1645"/>
                    <a:gd name="T6" fmla="*/ 1167 w 1446"/>
                    <a:gd name="T7" fmla="*/ 1645 h 1645"/>
                    <a:gd name="T8" fmla="*/ 294 w 1446"/>
                    <a:gd name="T9" fmla="*/ 1645 h 1645"/>
                    <a:gd name="T10" fmla="*/ 507 w 1446"/>
                    <a:gd name="T11" fmla="*/ 539 h 1645"/>
                    <a:gd name="T12" fmla="*/ 338 w 1446"/>
                    <a:gd name="T13" fmla="*/ 494 h 1645"/>
                    <a:gd name="T14" fmla="*/ 0 w 1446"/>
                    <a:gd name="T15" fmla="*/ 832 h 1645"/>
                    <a:gd name="T16" fmla="*/ 992 w 1446"/>
                    <a:gd name="T17" fmla="*/ 501 h 16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46" h="1645">
                      <a:moveTo>
                        <a:pt x="992" y="501"/>
                      </a:moveTo>
                      <a:cubicBezTo>
                        <a:pt x="1409" y="1228"/>
                        <a:pt x="1409" y="1228"/>
                        <a:pt x="1409" y="1228"/>
                      </a:cubicBezTo>
                      <a:cubicBezTo>
                        <a:pt x="1432" y="1269"/>
                        <a:pt x="1446" y="1316"/>
                        <a:pt x="1446" y="1367"/>
                      </a:cubicBezTo>
                      <a:cubicBezTo>
                        <a:pt x="1446" y="1521"/>
                        <a:pt x="1321" y="1645"/>
                        <a:pt x="1167" y="1645"/>
                      </a:cubicBezTo>
                      <a:cubicBezTo>
                        <a:pt x="294" y="1645"/>
                        <a:pt x="294" y="1645"/>
                        <a:pt x="294" y="1645"/>
                      </a:cubicBezTo>
                      <a:cubicBezTo>
                        <a:pt x="877" y="1645"/>
                        <a:pt x="955" y="819"/>
                        <a:pt x="507" y="539"/>
                      </a:cubicBezTo>
                      <a:cubicBezTo>
                        <a:pt x="457" y="510"/>
                        <a:pt x="399" y="494"/>
                        <a:pt x="338" y="494"/>
                      </a:cubicBezTo>
                      <a:cubicBezTo>
                        <a:pt x="151" y="494"/>
                        <a:pt x="0" y="645"/>
                        <a:pt x="0" y="832"/>
                      </a:cubicBezTo>
                      <a:cubicBezTo>
                        <a:pt x="0" y="315"/>
                        <a:pt x="699" y="0"/>
                        <a:pt x="992" y="501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0" name="Freeform 10"/>
                <p:cNvSpPr/>
                <p:nvPr/>
              </p:nvSpPr>
              <p:spPr bwMode="auto">
                <a:xfrm>
                  <a:off x="8514918" y="3746439"/>
                  <a:ext cx="1587150" cy="2514402"/>
                </a:xfrm>
                <a:custGeom>
                  <a:avLst/>
                  <a:gdLst>
                    <a:gd name="T0" fmla="*/ 0 w 698"/>
                    <a:gd name="T1" fmla="*/ 1106 h 1106"/>
                    <a:gd name="T2" fmla="*/ 213 w 698"/>
                    <a:gd name="T3" fmla="*/ 0 h 1106"/>
                    <a:gd name="T4" fmla="*/ 0 w 698"/>
                    <a:gd name="T5" fmla="*/ 1106 h 1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98" h="1106">
                      <a:moveTo>
                        <a:pt x="0" y="1106"/>
                      </a:moveTo>
                      <a:cubicBezTo>
                        <a:pt x="583" y="1106"/>
                        <a:pt x="661" y="280"/>
                        <a:pt x="213" y="0"/>
                      </a:cubicBezTo>
                      <a:cubicBezTo>
                        <a:pt x="698" y="280"/>
                        <a:pt x="610" y="1106"/>
                        <a:pt x="0" y="1106"/>
                      </a:cubicBezTo>
                      <a:close/>
                    </a:path>
                  </a:pathLst>
                </a:custGeom>
                <a:solidFill>
                  <a:srgbClr val="7ACCA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9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57" name="Freeform 6"/>
              <p:cNvSpPr/>
              <p:nvPr/>
            </p:nvSpPr>
            <p:spPr bwMode="auto">
              <a:xfrm>
                <a:off x="6116" y="1833"/>
                <a:ext cx="4696" cy="5389"/>
              </a:xfrm>
              <a:custGeom>
                <a:avLst/>
                <a:gdLst>
                  <a:gd name="T0" fmla="*/ 226 w 1537"/>
                  <a:gd name="T1" fmla="*/ 862 h 1764"/>
                  <a:gd name="T2" fmla="*/ 640 w 1537"/>
                  <a:gd name="T3" fmla="*/ 141 h 1764"/>
                  <a:gd name="T4" fmla="*/ 883 w 1537"/>
                  <a:gd name="T5" fmla="*/ 0 h 1764"/>
                  <a:gd name="T6" fmla="*/ 1123 w 1537"/>
                  <a:gd name="T7" fmla="*/ 136 h 1764"/>
                  <a:gd name="T8" fmla="*/ 1537 w 1537"/>
                  <a:gd name="T9" fmla="*/ 857 h 1764"/>
                  <a:gd name="T10" fmla="*/ 1537 w 1537"/>
                  <a:gd name="T11" fmla="*/ 857 h 1764"/>
                  <a:gd name="T12" fmla="*/ 545 w 1537"/>
                  <a:gd name="T13" fmla="*/ 1188 h 1764"/>
                  <a:gd name="T14" fmla="*/ 883 w 1537"/>
                  <a:gd name="T15" fmla="*/ 1525 h 1764"/>
                  <a:gd name="T16" fmla="*/ 1094 w 1537"/>
                  <a:gd name="T17" fmla="*/ 1451 h 1764"/>
                  <a:gd name="T18" fmla="*/ 226 w 1537"/>
                  <a:gd name="T19" fmla="*/ 863 h 1764"/>
                  <a:gd name="T20" fmla="*/ 226 w 1537"/>
                  <a:gd name="T21" fmla="*/ 862 h 1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37" h="1764">
                    <a:moveTo>
                      <a:pt x="226" y="862"/>
                    </a:moveTo>
                    <a:cubicBezTo>
                      <a:pt x="640" y="141"/>
                      <a:pt x="640" y="141"/>
                      <a:pt x="640" y="141"/>
                    </a:cubicBezTo>
                    <a:cubicBezTo>
                      <a:pt x="688" y="57"/>
                      <a:pt x="779" y="0"/>
                      <a:pt x="883" y="0"/>
                    </a:cubicBezTo>
                    <a:cubicBezTo>
                      <a:pt x="985" y="0"/>
                      <a:pt x="1074" y="55"/>
                      <a:pt x="1123" y="136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244" y="356"/>
                      <a:pt x="545" y="671"/>
                      <a:pt x="545" y="1188"/>
                    </a:cubicBezTo>
                    <a:cubicBezTo>
                      <a:pt x="545" y="1374"/>
                      <a:pt x="696" y="1525"/>
                      <a:pt x="883" y="1525"/>
                    </a:cubicBezTo>
                    <a:cubicBezTo>
                      <a:pt x="963" y="1525"/>
                      <a:pt x="1036" y="1498"/>
                      <a:pt x="1094" y="1451"/>
                    </a:cubicBezTo>
                    <a:cubicBezTo>
                      <a:pt x="681" y="1764"/>
                      <a:pt x="0" y="1400"/>
                      <a:pt x="226" y="863"/>
                    </a:cubicBezTo>
                    <a:lnTo>
                      <a:pt x="226" y="862"/>
                    </a:lnTo>
                    <a:close/>
                  </a:path>
                </a:pathLst>
              </a:custGeom>
              <a:solidFill>
                <a:schemeClr val="accent3">
                  <a:lumMod val="9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9" name="Group 46"/>
              <p:cNvGrpSpPr/>
              <p:nvPr/>
            </p:nvGrpSpPr>
            <p:grpSpPr>
              <a:xfrm rot="0">
                <a:off x="7536" y="2507"/>
                <a:ext cx="2576" cy="1120"/>
                <a:chOff x="3614053" y="1866806"/>
                <a:chExt cx="1917027" cy="833440"/>
              </a:xfrm>
            </p:grpSpPr>
            <p:sp>
              <p:nvSpPr>
                <p:cNvPr id="49" name="Rectangle 71"/>
                <p:cNvSpPr/>
                <p:nvPr>
                  <p:custDataLst>
                    <p:tags r:id="rId2"/>
                  </p:custDataLst>
                </p:nvPr>
              </p:nvSpPr>
              <p:spPr>
                <a:xfrm>
                  <a:off x="3945559" y="2199523"/>
                  <a:ext cx="1252882" cy="38354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" name="Rectangle 75"/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3614053" y="1866806"/>
                  <a:ext cx="1917027" cy="83344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2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华文隶书" panose="02010800040101010101" pitchFamily="2" charset="-122"/>
                      <a:ea typeface="华文隶书" panose="02010800040101010101" pitchFamily="2" charset="-122"/>
                    </a:rPr>
                    <a:t>向美</a:t>
                  </a:r>
                  <a:endParaRPr kumimoji="0" lang="zh-CN" alt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华文隶书" panose="02010800040101010101" pitchFamily="2" charset="-122"/>
                    <a:ea typeface="华文隶书" panose="02010800040101010101" pitchFamily="2" charset="-122"/>
                  </a:endParaRPr>
                </a:p>
              </p:txBody>
            </p:sp>
          </p:grpSp>
          <p:sp>
            <p:nvSpPr>
              <p:cNvPr id="48" name="Rectangle 70"/>
              <p:cNvSpPr/>
              <p:nvPr>
                <p:custDataLst>
                  <p:tags r:id="rId4"/>
                </p:custDataLst>
              </p:nvPr>
            </p:nvSpPr>
            <p:spPr>
              <a:xfrm>
                <a:off x="10071" y="6635"/>
                <a:ext cx="2142" cy="11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华文隶书" panose="02010800040101010101" pitchFamily="2" charset="-122"/>
                    <a:ea typeface="华文隶书" panose="02010800040101010101" pitchFamily="2" charset="-122"/>
                  </a:rPr>
                  <a:t>挑战</a:t>
                </a:r>
                <a:endParaRPr kumimoji="0" lang="zh-CN" alt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华文隶书" panose="02010800040101010101" pitchFamily="2" charset="-122"/>
                  <a:ea typeface="华文隶书" panose="02010800040101010101" pitchFamily="2" charset="-122"/>
                </a:endParaRPr>
              </a:p>
            </p:txBody>
          </p:sp>
          <p:sp>
            <p:nvSpPr>
              <p:cNvPr id="46" name="Rectangle 68"/>
              <p:cNvSpPr/>
              <p:nvPr>
                <p:custDataLst>
                  <p:tags r:id="rId5"/>
                </p:custDataLst>
              </p:nvPr>
            </p:nvSpPr>
            <p:spPr>
              <a:xfrm>
                <a:off x="5784" y="6506"/>
                <a:ext cx="2132" cy="11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2000" kern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华文隶书" panose="02010800040101010101" pitchFamily="2" charset="-122"/>
                    <a:ea typeface="华文隶书" panose="02010800040101010101" pitchFamily="2" charset="-122"/>
                  </a:rPr>
                  <a:t>生长</a:t>
                </a:r>
                <a:endParaRPr lang="zh-CN" altLang="en-US" sz="2000" kern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华文隶书" panose="02010800040101010101" pitchFamily="2" charset="-122"/>
                  <a:ea typeface="华文隶书" panose="02010800040101010101" pitchFamily="2" charset="-122"/>
                </a:endParaRPr>
              </a:p>
            </p:txBody>
          </p:sp>
        </p:grpSp>
        <p:sp>
          <p:nvSpPr>
            <p:cNvPr id="6" name="文本框 5"/>
            <p:cNvSpPr txBox="1"/>
            <p:nvPr/>
          </p:nvSpPr>
          <p:spPr>
            <a:xfrm>
              <a:off x="8668" y="3339"/>
              <a:ext cx="1492" cy="8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r>
                <a:rPr lang="zh-CN" altLang="en-US" sz="2800" dirty="0">
                  <a:latin typeface="华文隶书" panose="02010800040101010101" pitchFamily="2" charset="-122"/>
                  <a:ea typeface="华文隶书" panose="02010800040101010101" pitchFamily="2" charset="-122"/>
                </a:rPr>
                <a:t>弘雅</a:t>
              </a:r>
              <a:endParaRPr lang="zh-CN" altLang="en-US" sz="2800" dirty="0">
                <a:latin typeface="华文隶书" panose="02010800040101010101" pitchFamily="2" charset="-122"/>
                <a:ea typeface="华文隶书" panose="02010800040101010101" pitchFamily="2" charset="-122"/>
              </a:endParaRPr>
            </a:p>
          </p:txBody>
        </p:sp>
      </p:grpSp>
      <p:pic>
        <p:nvPicPr>
          <p:cNvPr id="9" name="图片 8" descr="logo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  <p:bldLst>
      <p:bldP spid="3" grpId="0"/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323215" y="901065"/>
            <a:ext cx="324231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4</a:t>
            </a:r>
            <a:r>
              <a:rPr lang="zh-CN" altLang="en-US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、</a:t>
            </a:r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提升课堂教学能力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39330" y="3349625"/>
            <a:ext cx="1804670" cy="1910715"/>
          </a:xfrm>
          <a:prstGeom prst="rect">
            <a:avLst/>
          </a:prstGeom>
        </p:spPr>
      </p:pic>
      <p:pic>
        <p:nvPicPr>
          <p:cNvPr id="9" name="图片 8" descr="logo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graphicFrame>
        <p:nvGraphicFramePr>
          <p:cNvPr id="10" name="表格 9"/>
          <p:cNvGraphicFramePr/>
          <p:nvPr>
            <p:custDataLst>
              <p:tags r:id="rId4"/>
            </p:custDataLst>
          </p:nvPr>
        </p:nvGraphicFramePr>
        <p:xfrm>
          <a:off x="746125" y="1523365"/>
          <a:ext cx="7279005" cy="2623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9985"/>
                <a:gridCol w="4076700"/>
                <a:gridCol w="2052320"/>
              </a:tblGrid>
              <a:tr h="37592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时间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内容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责任人</a:t>
                      </a:r>
                      <a:endParaRPr lang="zh-CN" altLang="en-US" sz="1600"/>
                    </a:p>
                  </a:txBody>
                  <a:tcPr/>
                </a:tc>
              </a:tr>
              <a:tr h="376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/>
                        <a:t>9</a:t>
                      </a:r>
                      <a:r>
                        <a:rPr lang="zh-CN" altLang="en-US" sz="1600"/>
                        <a:t>月上旬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摸底普查，找准每位老师优劣势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张玲</a:t>
                      </a:r>
                      <a:endParaRPr lang="zh-CN" altLang="en-US" sz="1600"/>
                    </a:p>
                  </a:txBody>
                  <a:tcPr/>
                </a:tc>
              </a:tr>
              <a:tr h="37592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/>
                        <a:t>9</a:t>
                      </a:r>
                      <a:r>
                        <a:rPr lang="zh-CN" altLang="en-US" sz="1600"/>
                        <a:t>月下旬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确定磨课内容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张玲、杨明武</a:t>
                      </a:r>
                      <a:endParaRPr lang="zh-CN" altLang="en-US" sz="1600"/>
                    </a:p>
                  </a:txBody>
                  <a:tcPr/>
                </a:tc>
              </a:tr>
              <a:tr h="376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/>
                        <a:t>10</a:t>
                      </a:r>
                      <a:r>
                        <a:rPr lang="zh-CN" altLang="en-US" sz="1600"/>
                        <a:t>月上旬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第一轮磨课（教研组内）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>
                          <a:sym typeface="+mn-ea"/>
                        </a:rPr>
                        <a:t>张玲、杨明武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</a:tr>
              <a:tr h="37592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>
                          <a:sym typeface="+mn-ea"/>
                        </a:rPr>
                        <a:t>10</a:t>
                      </a:r>
                      <a:r>
                        <a:rPr lang="zh-CN" altLang="en-US" sz="1600">
                          <a:sym typeface="+mn-ea"/>
                        </a:rPr>
                        <a:t>月下旬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>
                          <a:sym typeface="+mn-ea"/>
                        </a:rPr>
                        <a:t>第二轮磨课（借韦国工作室研讨）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>
                          <a:sym typeface="+mn-ea"/>
                        </a:rPr>
                        <a:t>张玲、杨明武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</a:tr>
              <a:tr h="37655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/>
                        <a:t>11</a:t>
                      </a:r>
                      <a:r>
                        <a:rPr lang="zh-CN" altLang="en-US" sz="1600"/>
                        <a:t>月上旬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第三轮磨课（</a:t>
                      </a:r>
                      <a:r>
                        <a:rPr lang="zh-CN" altLang="en-US" sz="1600">
                          <a:sym typeface="+mn-ea"/>
                        </a:rPr>
                        <a:t>借沈小伟工作室研讨</a:t>
                      </a:r>
                      <a:r>
                        <a:rPr lang="zh-CN" altLang="en-US" sz="1600"/>
                        <a:t>）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>
                          <a:sym typeface="+mn-ea"/>
                        </a:rPr>
                        <a:t>张玲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</a:tr>
              <a:tr h="366395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en-US" altLang="zh-CN" sz="1600">
                          <a:sym typeface="+mn-ea"/>
                        </a:rPr>
                        <a:t>11</a:t>
                      </a:r>
                      <a:r>
                        <a:rPr lang="zh-CN" altLang="en-US" sz="1600">
                          <a:sym typeface="+mn-ea"/>
                        </a:rPr>
                        <a:t>月下旬</a:t>
                      </a:r>
                      <a:endParaRPr lang="en-US" altLang="zh-CN" sz="1600">
                        <a:sym typeface="+mn-ea"/>
                      </a:endParaRPr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/>
                        <a:t>第四轮磨课（确定优课，专家指导）</a:t>
                      </a:r>
                      <a:endParaRPr lang="zh-CN" altLang="en-US" sz="1600"/>
                    </a:p>
                  </a:txBody>
                  <a:tcPr/>
                </a:tc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600">
                          <a:sym typeface="+mn-ea"/>
                        </a:rPr>
                        <a:t>张玲</a:t>
                      </a:r>
                      <a:endParaRPr lang="zh-CN" altLang="en-US" sz="1600">
                        <a:sym typeface="+mn-ea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文本框 10"/>
          <p:cNvSpPr txBox="1"/>
          <p:nvPr/>
        </p:nvSpPr>
        <p:spPr>
          <a:xfrm>
            <a:off x="3353435" y="4308475"/>
            <a:ext cx="206375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altLang="en-US">
                <a:solidFill>
                  <a:srgbClr val="000000"/>
                </a:solidFill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新优质磨课安排</a:t>
            </a:r>
            <a:endParaRPr lang="zh-CN" altLang="en-US">
              <a:solidFill>
                <a:srgbClr val="000000"/>
              </a:solidFill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 descr="&amp;pky97175844297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652385" y="3575050"/>
            <a:ext cx="1548765" cy="1568450"/>
          </a:xfrm>
          <a:prstGeom prst="rect">
            <a:avLst/>
          </a:prstGeom>
        </p:spPr>
      </p:pic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graphicFrame>
        <p:nvGraphicFramePr>
          <p:cNvPr id="10" name="表格 9"/>
          <p:cNvGraphicFramePr/>
          <p:nvPr>
            <p:custDataLst>
              <p:tags r:id="rId2"/>
            </p:custDataLst>
          </p:nvPr>
        </p:nvGraphicFramePr>
        <p:xfrm>
          <a:off x="324485" y="1302385"/>
          <a:ext cx="8002905" cy="3947795"/>
        </p:xfrm>
        <a:graphic>
          <a:graphicData uri="http://schemas.openxmlformats.org/drawingml/2006/table">
            <a:tbl>
              <a:tblPr firstRow="1" bandRow="1">
                <a:tableStyleId>{F8B58294-7C98-454F-8B8E-5373267BDF32}</a:tableStyleId>
              </a:tblPr>
              <a:tblGrid>
                <a:gridCol w="690880"/>
                <a:gridCol w="1790065"/>
                <a:gridCol w="2006600"/>
                <a:gridCol w="1978025"/>
                <a:gridCol w="1537335"/>
              </a:tblGrid>
              <a:tr h="2139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月份 </a:t>
                      </a:r>
                      <a:endParaRPr lang="en-US" altLang="en-US" sz="1400" b="1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分科教研内容</a:t>
                      </a:r>
                      <a:endParaRPr lang="en-US" altLang="en-US" sz="1400" b="1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分科教研内容</a:t>
                      </a:r>
                      <a:endParaRPr lang="en-US" altLang="en-US" sz="1400" b="1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分科教研内容</a:t>
                      </a:r>
                      <a:endParaRPr lang="en-US" altLang="en-US" sz="1400" b="1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联合教研 </a:t>
                      </a:r>
                      <a:endParaRPr lang="en-US" altLang="en-US" sz="1400" b="1"/>
                    </a:p>
                  </a:txBody>
                  <a:tcPr marL="68580" marR="68580" marT="0" marB="0" vert="horz" anchor="ctr" anchorCtr="0"/>
                </a:tc>
              </a:tr>
              <a:tr h="73406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9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“少年硅谷”课程基地建设汇报研讨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新课标解读（一）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人工智能实验区开课（一）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学期计划交流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8007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10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组内教研课执教人：杨明武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教师基本功训练（一）：粉笔字、信息技能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新课标解读（二）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阅读分享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48958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11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组内教研课：执教人：张玲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“少年硅谷”校级工作室活动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微课题推进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青年教师分享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7334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12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组内教研课：执教人：杨明武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组内教研课：执教人：张玲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教师基本功训练（二）：说课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基本功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97599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1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学期末总结研讨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微课题学期总结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计划研讨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1、各学科研究主题小结汇报</a:t>
                      </a:r>
                      <a:endParaRPr lang="en-US" sz="1600"/>
                    </a:p>
                    <a:p>
                      <a:pPr indent="0" algn="ctr">
                        <a:buNone/>
                      </a:pPr>
                      <a:r>
                        <a:rPr lang="en-US" sz="1600"/>
                        <a:t>2、学期总结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</a:tbl>
          </a:graphicData>
        </a:graphic>
      </p:graphicFrame>
      <p:pic>
        <p:nvPicPr>
          <p:cNvPr id="11" name="图片 10" descr="log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323850" y="842010"/>
            <a:ext cx="324231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4</a:t>
            </a:r>
            <a:r>
              <a:rPr lang="zh-CN" altLang="en-US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、</a:t>
            </a:r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提升课堂教学能力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3566160" y="903605"/>
            <a:ext cx="5080000" cy="36830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indent="0"/>
            <a:r>
              <a:rPr lang="zh-CN">
                <a:solidFill>
                  <a:srgbClr val="000000"/>
                </a:solidFill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（3）名师工作室抱团发展</a:t>
            </a:r>
            <a:endParaRPr lang="zh-CN" altLang="en-US">
              <a:solidFill>
                <a:srgbClr val="000000"/>
              </a:solidFill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教师培养</a:t>
            </a:r>
            <a:endParaRPr lang="zh-CN" altLang="en-US" sz="3600">
              <a:solidFill>
                <a:srgbClr val="51688A"/>
              </a:solidFill>
              <a:latin typeface="+mj-ea"/>
              <a:ea typeface="+mj-ea"/>
            </a:endParaRPr>
          </a:p>
        </p:txBody>
      </p:sp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893685" y="3508375"/>
            <a:ext cx="1804670" cy="191071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3451860" y="888365"/>
            <a:ext cx="25831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r>
              <a:rPr lang="zh-CN">
                <a:solidFill>
                  <a:srgbClr val="000000"/>
                </a:solidFill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（4）课后服务提质增效</a:t>
            </a:r>
            <a:endParaRPr lang="zh-CN" b="1">
              <a:solidFill>
                <a:srgbClr val="000000"/>
              </a:solidFill>
              <a:ea typeface="宋体" panose="02010600030101010101" pitchFamily="2" charset="-122"/>
              <a:sym typeface="+mn-ea"/>
            </a:endParaRPr>
          </a:p>
        </p:txBody>
      </p:sp>
      <p:graphicFrame>
        <p:nvGraphicFramePr>
          <p:cNvPr id="3" name="表格 2"/>
          <p:cNvGraphicFramePr/>
          <p:nvPr>
            <p:custDataLst>
              <p:tags r:id="rId2"/>
            </p:custDataLst>
          </p:nvPr>
        </p:nvGraphicFramePr>
        <p:xfrm>
          <a:off x="864870" y="1494155"/>
          <a:ext cx="7384415" cy="2936240"/>
        </p:xfrm>
        <a:graphic>
          <a:graphicData uri="http://schemas.openxmlformats.org/drawingml/2006/table">
            <a:tbl>
              <a:tblPr firstRow="1" bandRow="1">
                <a:tableStyleId>{E364DEFD-1D1D-45AC-B6A7-0296249E4342}</a:tableStyleId>
              </a:tblPr>
              <a:tblGrid>
                <a:gridCol w="1246505"/>
                <a:gridCol w="1957070"/>
                <a:gridCol w="2072005"/>
                <a:gridCol w="2108835"/>
              </a:tblGrid>
              <a:tr h="39687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/>
                        <a:t>类别</a:t>
                      </a:r>
                      <a:endParaRPr lang="en-US" altLang="en-US" sz="18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/>
                        <a:t>名称</a:t>
                      </a:r>
                      <a:endParaRPr lang="en-US" altLang="en-US" sz="18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/>
                        <a:t>负责教师</a:t>
                      </a:r>
                      <a:endParaRPr lang="en-US" altLang="en-US" sz="18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 b="1"/>
                        <a:t>地点</a:t>
                      </a:r>
                      <a:endParaRPr lang="en-US" altLang="en-US" sz="1800" b="1"/>
                    </a:p>
                  </a:txBody>
                  <a:tcPr marL="68580" marR="68580" marT="0" marB="0" vert="horz" anchor="t" anchorCtr="0"/>
                </a:tc>
              </a:tr>
              <a:tr h="27432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编程</a:t>
                      </a:r>
                      <a:endParaRPr lang="en-US" altLang="en-US" sz="18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Scratch创意编程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张玲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3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74320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C++初级编程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张玲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1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7432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3D打印</a:t>
                      </a:r>
                      <a:endParaRPr lang="en-US" altLang="en-US" sz="18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3D绘笔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杨明武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创客室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74320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3D建模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杨明武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2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94005">
                <a:tc rowSpan="3">
                  <a:txBody>
                    <a:bodyPr/>
                    <a:p>
                      <a:pPr indent="0" algn="ctr">
                        <a:buNone/>
                      </a:pPr>
                      <a:endParaRPr lang="en-US" sz="1800"/>
                    </a:p>
                    <a:p>
                      <a:pPr indent="0" algn="ctr">
                        <a:buNone/>
                      </a:pPr>
                      <a:r>
                        <a:rPr lang="en-US" sz="1800"/>
                        <a:t>人工智能</a:t>
                      </a:r>
                      <a:endParaRPr lang="en-US" altLang="en-US" sz="18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金钥匙人工智能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张玲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2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74320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Arduino</a:t>
                      </a:r>
                      <a:r>
                        <a:rPr lang="zh-CN" altLang="en-US" sz="1800"/>
                        <a:t>开源硬件</a:t>
                      </a:r>
                      <a:endParaRPr lang="zh-CN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武亚敏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1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74320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Microbit</a:t>
                      </a:r>
                      <a:r>
                        <a:rPr lang="zh-CN" altLang="en-US" sz="1800"/>
                        <a:t>人工智能</a:t>
                      </a:r>
                      <a:endParaRPr lang="zh-CN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张玲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房1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282575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器人</a:t>
                      </a:r>
                      <a:endParaRPr lang="en-US" altLang="en-US" sz="18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器人初级课程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杨明武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科学教室5、6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  <a:tr h="316865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机器人中级课程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杨明武、外聘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800"/>
                        <a:t>科学教室5、6</a:t>
                      </a:r>
                      <a:endParaRPr lang="en-US" altLang="en-US" sz="1800"/>
                    </a:p>
                  </a:txBody>
                  <a:tcPr marL="68580" marR="68580" marT="0" marB="0" vert="horz" anchor="t" anchorCtr="0"/>
                </a:tc>
              </a:tr>
            </a:tbl>
          </a:graphicData>
        </a:graphic>
      </p:graphicFrame>
      <p:pic>
        <p:nvPicPr>
          <p:cNvPr id="5" name="图片 4" descr="log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09550" y="842010"/>
            <a:ext cx="3242310" cy="460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4</a:t>
            </a:r>
            <a:r>
              <a:rPr lang="zh-CN" altLang="en-US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、</a:t>
            </a:r>
            <a:r>
              <a:rPr lang="zh-CN" sz="240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提升课堂教学能力</a:t>
            </a:r>
            <a:endParaRPr lang="zh-CN" sz="240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椭圆 8"/>
          <p:cNvSpPr/>
          <p:nvPr/>
        </p:nvSpPr>
        <p:spPr>
          <a:xfrm>
            <a:off x="-898227" y="1360666"/>
            <a:ext cx="477520" cy="477520"/>
          </a:xfrm>
          <a:prstGeom prst="ellipse">
            <a:avLst/>
          </a:prstGeom>
          <a:solidFill>
            <a:srgbClr val="C9D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-898227" y="1980426"/>
            <a:ext cx="477520" cy="477520"/>
          </a:xfrm>
          <a:prstGeom prst="ellipse">
            <a:avLst/>
          </a:prstGeom>
          <a:solidFill>
            <a:srgbClr val="88B8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-898227" y="2621868"/>
            <a:ext cx="477520" cy="477520"/>
          </a:xfrm>
          <a:prstGeom prst="ellipse">
            <a:avLst/>
          </a:prstGeom>
          <a:solidFill>
            <a:srgbClr val="516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-898227" y="3213780"/>
            <a:ext cx="477520" cy="477520"/>
          </a:xfrm>
          <a:prstGeom prst="ellipse">
            <a:avLst/>
          </a:prstGeom>
          <a:solidFill>
            <a:srgbClr val="F2E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矩形 43"/>
          <p:cNvSpPr/>
          <p:nvPr/>
        </p:nvSpPr>
        <p:spPr>
          <a:xfrm>
            <a:off x="3857319" y="558901"/>
            <a:ext cx="1467675" cy="183320"/>
          </a:xfrm>
          <a:prstGeom prst="rect">
            <a:avLst/>
          </a:prstGeom>
          <a:solidFill>
            <a:srgbClr val="88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/>
          <p:cNvSpPr/>
          <p:nvPr/>
        </p:nvSpPr>
        <p:spPr>
          <a:xfrm>
            <a:off x="3220172" y="742221"/>
            <a:ext cx="285012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dist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>
                <a:solidFill>
                  <a:schemeClr val="bg1">
                    <a:lumMod val="85000"/>
                  </a:schemeClr>
                </a:solidFill>
                <a:latin typeface="华文细黑" panose="02010600040101010101" charset="-122"/>
                <a:ea typeface="方正兰亭黑_GBK"/>
              </a:rPr>
              <a:t>Contents</a:t>
            </a:r>
            <a:endParaRPr lang="zh-CN" altLang="en-US">
              <a:solidFill>
                <a:schemeClr val="bg1">
                  <a:lumMod val="85000"/>
                </a:schemeClr>
              </a:solidFill>
              <a:latin typeface="华文细黑" panose="02010600040101010101" charset="-122"/>
              <a:ea typeface="方正兰亭黑_GBK"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3870924" y="-26585"/>
            <a:ext cx="1402080" cy="8299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4800">
                <a:solidFill>
                  <a:srgbClr val="51688A"/>
                </a:solidFill>
                <a:latin typeface="楷体" panose="02010609060101010101" charset="-122"/>
                <a:ea typeface="楷体" panose="02010609060101010101" charset="-122"/>
              </a:rPr>
              <a:t>目录</a:t>
            </a:r>
            <a:endParaRPr lang="zh-CN" altLang="en-US" sz="4800">
              <a:solidFill>
                <a:srgbClr val="51688A"/>
              </a:solidFill>
              <a:latin typeface="楷体" panose="02010609060101010101" charset="-122"/>
              <a:ea typeface="楷体" panose="02010609060101010101" charset="-122"/>
            </a:endParaRPr>
          </a:p>
        </p:txBody>
      </p:sp>
      <p:sp>
        <p:nvSpPr>
          <p:cNvPr id="7" name="弧形 6"/>
          <p:cNvSpPr/>
          <p:nvPr/>
        </p:nvSpPr>
        <p:spPr>
          <a:xfrm rot="600000">
            <a:off x="-3799840" y="923290"/>
            <a:ext cx="6697980" cy="560451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  <p:grpSp>
        <p:nvGrpSpPr>
          <p:cNvPr id="10" name="组合 9"/>
          <p:cNvGrpSpPr/>
          <p:nvPr/>
        </p:nvGrpSpPr>
        <p:grpSpPr>
          <a:xfrm>
            <a:off x="1317625" y="1209675"/>
            <a:ext cx="3667124" cy="758190"/>
            <a:chOff x="4684822" y="1039732"/>
            <a:chExt cx="2223937" cy="459680"/>
          </a:xfrm>
        </p:grpSpPr>
        <p:sp>
          <p:nvSpPr>
            <p:cNvPr id="11" name="文本框 6"/>
            <p:cNvSpPr txBox="1">
              <a:spLocks noChangeArrowheads="1"/>
            </p:cNvSpPr>
            <p:nvPr/>
          </p:nvSpPr>
          <p:spPr bwMode="auto">
            <a:xfrm>
              <a:off x="5140391" y="1065526"/>
              <a:ext cx="1768368" cy="391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6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</a:rPr>
                <a:t>背景分析</a:t>
              </a:r>
              <a:endPara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4684822" y="1039732"/>
              <a:ext cx="459680" cy="459680"/>
              <a:chOff x="4262984" y="861184"/>
              <a:chExt cx="459680" cy="45968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4262984" y="861184"/>
                <a:ext cx="459680" cy="459680"/>
              </a:xfrm>
              <a:prstGeom prst="ellipse">
                <a:avLst/>
              </a:prstGeom>
              <a:solidFill>
                <a:srgbClr val="88B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solidFill>
                    <a:srgbClr val="8B91AB"/>
                  </a:solidFill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 bwMode="auto">
              <a:xfrm>
                <a:off x="4278613" y="887615"/>
                <a:ext cx="415498" cy="3911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3600">
                    <a:solidFill>
                      <a:schemeClr val="bg1"/>
                    </a:solidFill>
                    <a:latin typeface="汉仪魏碑简" panose="02010600000101010101" charset="-128"/>
                    <a:ea typeface="汉仪魏碑简" panose="02010600000101010101" charset="-128"/>
                  </a:rPr>
                  <a:t>壹</a:t>
                </a:r>
                <a:endParaRPr lang="zh-CN" altLang="en-US" sz="3600">
                  <a:solidFill>
                    <a:schemeClr val="bg1"/>
                  </a:solidFill>
                  <a:latin typeface="汉仪魏碑简" panose="02010600000101010101" charset="-128"/>
                  <a:ea typeface="汉仪魏碑简" panose="02010600000101010101" charset="-128"/>
                </a:endParaRPr>
              </a:p>
            </p:txBody>
          </p:sp>
        </p:grpSp>
      </p:grpSp>
      <p:grpSp>
        <p:nvGrpSpPr>
          <p:cNvPr id="8" name="组合 7"/>
          <p:cNvGrpSpPr/>
          <p:nvPr/>
        </p:nvGrpSpPr>
        <p:grpSpPr>
          <a:xfrm>
            <a:off x="2050415" y="2236470"/>
            <a:ext cx="3667124" cy="758190"/>
            <a:chOff x="4684822" y="1039732"/>
            <a:chExt cx="2223937" cy="459680"/>
          </a:xfrm>
        </p:grpSpPr>
        <p:sp>
          <p:nvSpPr>
            <p:cNvPr id="20" name="文本框 6"/>
            <p:cNvSpPr txBox="1">
              <a:spLocks noChangeArrowheads="1"/>
            </p:cNvSpPr>
            <p:nvPr/>
          </p:nvSpPr>
          <p:spPr bwMode="auto">
            <a:xfrm>
              <a:off x="5140391" y="1065526"/>
              <a:ext cx="1768368" cy="391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6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</a:rPr>
                <a:t>学期目标</a:t>
              </a:r>
              <a:endPara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endParaRPr>
            </a:p>
          </p:txBody>
        </p:sp>
        <p:grpSp>
          <p:nvGrpSpPr>
            <p:cNvPr id="26" name="组合 25"/>
            <p:cNvGrpSpPr/>
            <p:nvPr/>
          </p:nvGrpSpPr>
          <p:grpSpPr>
            <a:xfrm>
              <a:off x="4684822" y="1039732"/>
              <a:ext cx="459680" cy="459680"/>
              <a:chOff x="4262984" y="861184"/>
              <a:chExt cx="459680" cy="459680"/>
            </a:xfrm>
          </p:grpSpPr>
          <p:sp>
            <p:nvSpPr>
              <p:cNvPr id="27" name="椭圆 26"/>
              <p:cNvSpPr/>
              <p:nvPr/>
            </p:nvSpPr>
            <p:spPr>
              <a:xfrm>
                <a:off x="4262984" y="861184"/>
                <a:ext cx="459680" cy="459680"/>
              </a:xfrm>
              <a:prstGeom prst="ellipse">
                <a:avLst/>
              </a:prstGeom>
              <a:solidFill>
                <a:srgbClr val="88B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solidFill>
                    <a:srgbClr val="8B91AB"/>
                  </a:solidFill>
                  <a:latin typeface="汉仪魏碑简" panose="02010600000101010101" charset="-128"/>
                  <a:ea typeface="汉仪魏碑简" panose="02010600000101010101" charset="-128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 bwMode="auto">
              <a:xfrm>
                <a:off x="4278613" y="887615"/>
                <a:ext cx="415498" cy="3911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3600">
                    <a:solidFill>
                      <a:schemeClr val="bg1"/>
                    </a:solidFill>
                    <a:latin typeface="汉仪魏碑简" panose="02010600000101010101" charset="-128"/>
                    <a:ea typeface="汉仪魏碑简" panose="02010600000101010101" charset="-128"/>
                  </a:rPr>
                  <a:t>贰</a:t>
                </a:r>
                <a:endParaRPr lang="zh-CN" altLang="en-US" sz="3600">
                  <a:solidFill>
                    <a:schemeClr val="bg1"/>
                  </a:solidFill>
                  <a:latin typeface="汉仪魏碑简" panose="02010600000101010101" charset="-128"/>
                  <a:ea typeface="汉仪魏碑简" panose="02010600000101010101" charset="-128"/>
                </a:endParaRPr>
              </a:p>
            </p:txBody>
          </p:sp>
        </p:grpSp>
      </p:grpSp>
      <p:grpSp>
        <p:nvGrpSpPr>
          <p:cNvPr id="41" name="组合 40"/>
          <p:cNvGrpSpPr/>
          <p:nvPr/>
        </p:nvGrpSpPr>
        <p:grpSpPr>
          <a:xfrm>
            <a:off x="2454910" y="3314065"/>
            <a:ext cx="3667124" cy="758190"/>
            <a:chOff x="4684822" y="1039732"/>
            <a:chExt cx="2223937" cy="459680"/>
          </a:xfrm>
        </p:grpSpPr>
        <p:sp>
          <p:nvSpPr>
            <p:cNvPr id="42" name="文本框 6"/>
            <p:cNvSpPr txBox="1">
              <a:spLocks noChangeArrowheads="1"/>
            </p:cNvSpPr>
            <p:nvPr/>
          </p:nvSpPr>
          <p:spPr bwMode="auto">
            <a:xfrm>
              <a:off x="5140391" y="1065526"/>
              <a:ext cx="1768368" cy="391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 Light" panose="020F0302020204030204" pitchFamily="34" charset="0"/>
                  <a:ea typeface="方正宋刻本秀楷简体" panose="02000000000000000000" pitchFamily="2" charset="-122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6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</a:rPr>
                <a:t>发展措施</a:t>
              </a:r>
              <a:endPara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endParaRPr>
            </a:p>
          </p:txBody>
        </p:sp>
        <p:grpSp>
          <p:nvGrpSpPr>
            <p:cNvPr id="43" name="组合 42"/>
            <p:cNvGrpSpPr/>
            <p:nvPr/>
          </p:nvGrpSpPr>
          <p:grpSpPr>
            <a:xfrm>
              <a:off x="4684822" y="1039732"/>
              <a:ext cx="459680" cy="459680"/>
              <a:chOff x="4262984" y="861184"/>
              <a:chExt cx="459680" cy="459680"/>
            </a:xfrm>
          </p:grpSpPr>
          <p:sp>
            <p:nvSpPr>
              <p:cNvPr id="47" name="椭圆 46"/>
              <p:cNvSpPr/>
              <p:nvPr/>
            </p:nvSpPr>
            <p:spPr>
              <a:xfrm>
                <a:off x="4262984" y="861184"/>
                <a:ext cx="459680" cy="459680"/>
              </a:xfrm>
              <a:prstGeom prst="ellipse">
                <a:avLst/>
              </a:prstGeom>
              <a:solidFill>
                <a:srgbClr val="88B8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>
                  <a:solidFill>
                    <a:srgbClr val="8B91AB"/>
                  </a:solidFill>
                  <a:latin typeface="汉仪魏碑简" panose="02010600000101010101" charset="-128"/>
                  <a:ea typeface="汉仪魏碑简" panose="02010600000101010101" charset="-128"/>
                </a:endParaRPr>
              </a:p>
            </p:txBody>
          </p:sp>
          <p:sp>
            <p:nvSpPr>
              <p:cNvPr id="48" name="矩形 47"/>
              <p:cNvSpPr/>
              <p:nvPr/>
            </p:nvSpPr>
            <p:spPr bwMode="auto">
              <a:xfrm>
                <a:off x="4278613" y="887615"/>
                <a:ext cx="415498" cy="3911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3600">
                    <a:solidFill>
                      <a:schemeClr val="bg1"/>
                    </a:solidFill>
                    <a:latin typeface="汉仪魏碑简" panose="02010600000101010101" charset="-128"/>
                    <a:ea typeface="汉仪魏碑简" panose="02010600000101010101" charset="-128"/>
                  </a:rPr>
                  <a:t>叁</a:t>
                </a:r>
                <a:endParaRPr lang="zh-CN" altLang="en-US" sz="3600">
                  <a:solidFill>
                    <a:schemeClr val="bg1"/>
                  </a:solidFill>
                  <a:latin typeface="汉仪魏碑简" panose="02010600000101010101" charset="-128"/>
                  <a:ea typeface="汉仪魏碑简" panose="02010600000101010101" charset="-128"/>
                </a:endParaRPr>
              </a:p>
            </p:txBody>
          </p:sp>
        </p:grpSp>
      </p:grpSp>
      <p:pic>
        <p:nvPicPr>
          <p:cNvPr id="5" name="图片 4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学生发展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65100" y="769620"/>
            <a:ext cx="363220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b="1">
                <a:solidFill>
                  <a:srgbClr val="000000"/>
                </a:solidFill>
                <a:ea typeface="宋体" panose="02010600030101010101" pitchFamily="2" charset="-122"/>
              </a:rPr>
              <a:t>1</a:t>
            </a:r>
            <a:r>
              <a:rPr lang="zh-CN" altLang="en-US" b="1">
                <a:solidFill>
                  <a:srgbClr val="000000"/>
                </a:solidFill>
                <a:ea typeface="宋体" panose="02010600030101010101" pitchFamily="2" charset="-122"/>
              </a:rPr>
              <a:t>、</a:t>
            </a:r>
            <a:r>
              <a:rPr lang="zh-CN" b="1">
                <a:solidFill>
                  <a:srgbClr val="000000"/>
                </a:solidFill>
                <a:ea typeface="宋体" panose="02010600030101010101" pitchFamily="2" charset="-122"/>
              </a:rPr>
              <a:t>解读学科素养，渗透日常教学</a:t>
            </a:r>
            <a:endParaRPr lang="zh-CN" b="1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504825" y="1179195"/>
          <a:ext cx="7880350" cy="1194435"/>
        </p:xfrm>
        <a:graphic>
          <a:graphicData uri="http://schemas.openxmlformats.org/drawingml/2006/table">
            <a:tbl>
              <a:tblPr firstRow="1" bandRow="1">
                <a:tableStyleId>{F8B58294-7C98-454F-8B8E-5373267BDF32}</a:tableStyleId>
              </a:tblPr>
              <a:tblGrid>
                <a:gridCol w="2905125"/>
                <a:gridCol w="2311400"/>
                <a:gridCol w="2663825"/>
              </a:tblGrid>
              <a:tr h="24384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/>
                        <a:t>知识</a:t>
                      </a:r>
                      <a:endParaRPr lang="en-US" altLang="en-US" sz="16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/>
                        <a:t>技能</a:t>
                      </a:r>
                      <a:endParaRPr lang="en-US" altLang="en-US" sz="16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/>
                        <a:t>育人价值体现</a:t>
                      </a:r>
                      <a:endParaRPr lang="en-US" altLang="en-US" sz="1600" b="1"/>
                    </a:p>
                  </a:txBody>
                  <a:tcPr marL="68580" marR="68580" marT="0" marB="0" vert="horz" anchor="t" anchorCtr="0"/>
                </a:tc>
              </a:tr>
              <a:tr h="950595"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/>
                        <a:t>信息技术基础、算法、程序设计、机器人技术、物联网技术、人工智能。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/>
                        <a:t>尝试运用计算思维识别与分析问题。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600"/>
                        <a:t>养成良好的信息意识与行为习惯，初步形成信息社会责任意识。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</a:tbl>
          </a:graphicData>
        </a:graphic>
      </p:graphicFrame>
      <p:sp>
        <p:nvSpPr>
          <p:cNvPr id="3" name="文本框 2"/>
          <p:cNvSpPr txBox="1"/>
          <p:nvPr/>
        </p:nvSpPr>
        <p:spPr>
          <a:xfrm>
            <a:off x="165100" y="2352675"/>
            <a:ext cx="424307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b="1">
                <a:solidFill>
                  <a:srgbClr val="000000"/>
                </a:solidFill>
                <a:ea typeface="宋体" panose="02010600030101010101" pitchFamily="2" charset="-122"/>
              </a:rPr>
              <a:t>2</a:t>
            </a:r>
            <a:r>
              <a:rPr lang="zh-CN" altLang="en-US" b="1">
                <a:solidFill>
                  <a:srgbClr val="000000"/>
                </a:solidFill>
                <a:ea typeface="宋体" panose="02010600030101010101" pitchFamily="2" charset="-122"/>
              </a:rPr>
              <a:t>、</a:t>
            </a:r>
            <a:r>
              <a:rPr lang="zh-CN" b="1">
                <a:solidFill>
                  <a:srgbClr val="000000"/>
                </a:solidFill>
                <a:ea typeface="宋体" panose="02010600030101010101" pitchFamily="2" charset="-122"/>
              </a:rPr>
              <a:t>细化学科关键能力，提升评价质量</a:t>
            </a:r>
            <a:endParaRPr lang="zh-CN" b="1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1823085" y="2716530"/>
          <a:ext cx="5285105" cy="2325370"/>
        </p:xfrm>
        <a:graphic>
          <a:graphicData uri="http://schemas.openxmlformats.org/drawingml/2006/table">
            <a:tbl>
              <a:tblPr firstRow="1" bandRow="1">
                <a:tableStyleId>{F8B58294-7C98-454F-8B8E-5373267BDF32}</a:tableStyleId>
              </a:tblPr>
              <a:tblGrid>
                <a:gridCol w="664210"/>
                <a:gridCol w="2755900"/>
                <a:gridCol w="1864995"/>
              </a:tblGrid>
              <a:tr h="30607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月份</a:t>
                      </a:r>
                      <a:endParaRPr lang="en-US" altLang="en-US" sz="14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能级调研内容</a:t>
                      </a:r>
                      <a:endParaRPr lang="en-US" altLang="en-US" sz="14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 b="1"/>
                        <a:t>调研方式</a:t>
                      </a:r>
                      <a:endParaRPr lang="en-US" altLang="en-US" sz="1400" b="1"/>
                    </a:p>
                  </a:txBody>
                  <a:tcPr marL="68580" marR="68580" marT="0" marB="0" vert="horz" anchor="t" anchorCtr="0"/>
                </a:tc>
              </a:tr>
              <a:tr h="30543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/>
                        <a:t>9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寒假作业展评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现场展示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</a:tr>
              <a:tr h="4286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/>
                        <a:t>10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各年级知识、技能阶段评价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问卷星、上机操作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</a:tr>
              <a:tr h="4286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/>
                        <a:t>11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各年级知识、技能阶段评价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问卷星、上机操作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</a:tr>
              <a:tr h="42799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/>
                        <a:t>12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各年级知识、技能阶段评价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问卷星、上机操作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</a:tr>
              <a:tr h="42862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400"/>
                        <a:t>1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各年级知识、技能总体评价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>
                        <a:buNone/>
                      </a:pPr>
                      <a:r>
                        <a:rPr lang="en-US" sz="1400"/>
                        <a:t>机考、展示</a:t>
                      </a:r>
                      <a:endParaRPr lang="en-US" altLang="en-US" sz="1400"/>
                    </a:p>
                  </a:txBody>
                  <a:tcPr marL="68580" marR="68580" marT="0" marB="0" vert="horz" anchor="ctr" anchorCtr="0"/>
                </a:tc>
              </a:tr>
            </a:tbl>
          </a:graphicData>
        </a:graphic>
      </p:graphicFrame>
      <p:pic>
        <p:nvPicPr>
          <p:cNvPr id="5" name="图片 4" descr="log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pic>
        <p:nvPicPr>
          <p:cNvPr id="6" name="图片 5" descr="&amp;pky97175844297&amp;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52385" y="3575050"/>
            <a:ext cx="1548765" cy="15684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566160" y="94100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buClrTx/>
              <a:buSzTx/>
              <a:buFontTx/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学生发展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65100" y="985520"/>
            <a:ext cx="4446905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b="1">
                <a:solidFill>
                  <a:srgbClr val="000000"/>
                </a:solidFill>
                <a:ea typeface="宋体" panose="02010600030101010101" pitchFamily="2" charset="-122"/>
              </a:rPr>
              <a:t>3、依托赛事活动，实现课程融通</a:t>
            </a:r>
            <a:endParaRPr lang="zh-CN" b="1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26415" y="1526540"/>
            <a:ext cx="8157845" cy="98361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304800"/>
            <a:r>
              <a:rPr lang="en-US" altLang="zh-CN">
                <a:latin typeface="+mn-ea"/>
                <a:cs typeface="+mn-ea"/>
              </a:rPr>
              <a:t>   </a:t>
            </a:r>
            <a:r>
              <a:rPr lang="zh-CN" sz="2000">
                <a:latin typeface="+mn-ea"/>
                <a:cs typeface="+mn-ea"/>
              </a:rPr>
              <a:t>通过期初课程展评、各类学科竞赛活动，提升学生的信息创造与应用能力，并融合多种课内外资源，实现教会、勤练、常赛的培养机制。</a:t>
            </a:r>
            <a:endParaRPr lang="en-US">
              <a:latin typeface="+mn-ea"/>
              <a:cs typeface="+mn-ea"/>
            </a:endParaRPr>
          </a:p>
          <a:p>
            <a:endParaRPr lang="zh-CN" altLang="en-US">
              <a:latin typeface="+mn-ea"/>
              <a:cs typeface="+mn-ea"/>
            </a:endParaRPr>
          </a:p>
        </p:txBody>
      </p:sp>
      <p:graphicFrame>
        <p:nvGraphicFramePr>
          <p:cNvPr id="6" name="表格 5"/>
          <p:cNvGraphicFramePr/>
          <p:nvPr>
            <p:custDataLst>
              <p:tags r:id="rId1"/>
            </p:custDataLst>
          </p:nvPr>
        </p:nvGraphicFramePr>
        <p:xfrm>
          <a:off x="1866900" y="2682875"/>
          <a:ext cx="5410200" cy="304800"/>
        </p:xfrm>
        <a:graphic>
          <a:graphicData uri="http://schemas.openxmlformats.org/drawingml/2006/table">
            <a:tbl>
              <a:tblPr firstRow="1" bandRow="1">
                <a:tableStyleId>{F8B58294-7C98-454F-8B8E-5373267BDF32}</a:tableStyleId>
              </a:tblPr>
              <a:tblGrid>
                <a:gridCol w="2044700"/>
                <a:gridCol w="3365500"/>
              </a:tblGrid>
              <a:tr h="30480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 b="1"/>
                        <a:t>时间</a:t>
                      </a:r>
                      <a:endParaRPr lang="en-US" altLang="en-US" sz="2000" b="1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 b="1"/>
                        <a:t>赛事</a:t>
                      </a:r>
                      <a:endParaRPr lang="en-US" altLang="en-US" sz="2000" b="1"/>
                    </a:p>
                  </a:txBody>
                  <a:tcPr marL="68580" marR="68580" marT="0" marB="0" vert="horz" anchor="t" anchorCtr="0"/>
                </a:tc>
              </a:tr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十月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江苏省金钥匙人工智能大赛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</a:tr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十月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常州市电子技师大赛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</a:tr>
              <a:tr h="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十一月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2000"/>
                        <a:t>常州市创客大赛</a:t>
                      </a:r>
                      <a:endParaRPr lang="en-US" altLang="en-US" sz="2000"/>
                    </a:p>
                  </a:txBody>
                  <a:tcPr marL="68580" marR="68580" marT="0" marB="0" vert="horz" anchor="t" anchorCtr="0"/>
                </a:tc>
              </a:tr>
            </a:tbl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2761615" y="4064000"/>
            <a:ext cx="3688080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 indent="304800"/>
            <a:r>
              <a:rPr lang="en-US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2022</a:t>
            </a:r>
            <a:r>
              <a:rPr lang="zh-CN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  <a:sym typeface="+mn-ea"/>
              </a:rPr>
              <a:t>秋学期信息学科活动安排表</a:t>
            </a:r>
            <a:endParaRPr lang="zh-CN" altLang="en-US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8" name="图片 7" descr="logo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pic>
        <p:nvPicPr>
          <p:cNvPr id="9" name="图片 8" descr="&amp;pky97175844413&amp;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3685" y="3508375"/>
            <a:ext cx="1804670" cy="19107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0" name="矩形 19"/>
          <p:cNvSpPr/>
          <p:nvPr/>
        </p:nvSpPr>
        <p:spPr bwMode="auto">
          <a:xfrm>
            <a:off x="2782571" y="1984673"/>
            <a:ext cx="4373880" cy="110680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p>
            <a:pPr algn="ctr" fontAlgn="base">
              <a:buClrTx/>
              <a:buSzTx/>
              <a:buFontTx/>
              <a:defRPr/>
            </a:pPr>
            <a:r>
              <a:rPr lang="zh-CN" altLang="en-US" sz="6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感谢聆听！</a:t>
            </a:r>
            <a:endParaRPr lang="zh-CN" altLang="en-US" sz="6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pic>
        <p:nvPicPr>
          <p:cNvPr id="5" name="图片 4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53975"/>
            <a:ext cx="1449705" cy="13169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889808" y="2454787"/>
            <a:ext cx="3364385" cy="112201"/>
          </a:xfrm>
          <a:prstGeom prst="rect">
            <a:avLst/>
          </a:prstGeom>
          <a:solidFill>
            <a:srgbClr val="88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-1402080" y="934720"/>
            <a:ext cx="477520" cy="477520"/>
          </a:xfrm>
          <a:prstGeom prst="ellipse">
            <a:avLst/>
          </a:prstGeom>
          <a:solidFill>
            <a:srgbClr val="C9D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-1402080" y="1554480"/>
            <a:ext cx="477520" cy="477520"/>
          </a:xfrm>
          <a:prstGeom prst="ellipse">
            <a:avLst/>
          </a:prstGeom>
          <a:solidFill>
            <a:srgbClr val="88B8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-1402080" y="2195922"/>
            <a:ext cx="477520" cy="477520"/>
          </a:xfrm>
          <a:prstGeom prst="ellipse">
            <a:avLst/>
          </a:prstGeom>
          <a:solidFill>
            <a:srgbClr val="516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-1402080" y="2787834"/>
            <a:ext cx="477520" cy="477520"/>
          </a:xfrm>
          <a:prstGeom prst="ellipse">
            <a:avLst/>
          </a:prstGeom>
          <a:solidFill>
            <a:srgbClr val="F2E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 bwMode="auto">
          <a:xfrm>
            <a:off x="3108960" y="1686737"/>
            <a:ext cx="2926080" cy="92202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54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ea"/>
              </a:rPr>
              <a:t>背景分析</a:t>
            </a:r>
            <a:endParaRPr lang="zh-CN" altLang="en-US" sz="5400" kern="1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  <a:cs typeface="Times New Roman" panose="02020603050405020304" pitchFamily="18" charset="0"/>
              <a:sym typeface="+mn-ea"/>
            </a:endParaRPr>
          </a:p>
        </p:txBody>
      </p:sp>
      <p:pic>
        <p:nvPicPr>
          <p:cNvPr id="2" name="图片 1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图片 2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66660" y="3644900"/>
            <a:ext cx="1856105" cy="1856105"/>
          </a:xfrm>
          <a:prstGeom prst="rect">
            <a:avLst/>
          </a:prstGeom>
        </p:spPr>
      </p:pic>
      <p:sp>
        <p:nvSpPr>
          <p:cNvPr id="21" name="文本框 6"/>
          <p:cNvSpPr txBox="1">
            <a:spLocks noChangeArrowheads="1"/>
          </p:cNvSpPr>
          <p:nvPr/>
        </p:nvSpPr>
        <p:spPr bwMode="auto">
          <a:xfrm>
            <a:off x="3489325" y="202565"/>
            <a:ext cx="2165985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+mj-ea"/>
                <a:ea typeface="+mj-ea"/>
              </a:rPr>
              <a:t>时代背景</a:t>
            </a:r>
            <a:endParaRPr lang="zh-CN" altLang="en-US" sz="3600">
              <a:solidFill>
                <a:srgbClr val="51688A"/>
              </a:solidFill>
              <a:latin typeface="+mj-ea"/>
              <a:ea typeface="+mj-ea"/>
            </a:endParaRPr>
          </a:p>
        </p:txBody>
      </p:sp>
      <p:sp>
        <p:nvSpPr>
          <p:cNvPr id="16" name="矩形 15" descr="e7d195523061f1c09e9d68d7cf438b91ef959ecb14fc25d26BBA7F7DBC18E55DFF4014AF651F0BF2569D4B6C1DA7F1A4683A481403BD872FC687266AD13265C1DE7C373772FD8728ABDD69ADD03BFF5BE2862BC891DBB79EC884C45A5F465464F4471A44E2E9B6024498CDCB4F20168DAB66C7FAB51F4DF2191988BC51E8947C5543912A7B2AB33F8B6FFDD33C59E19B"/>
          <p:cNvSpPr/>
          <p:nvPr/>
        </p:nvSpPr>
        <p:spPr>
          <a:xfrm>
            <a:off x="4146684" y="3587482"/>
            <a:ext cx="2689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+mj-lt"/>
                <a:ea typeface="+mj-ea"/>
                <a:sym typeface="+mn-lt"/>
              </a:rPr>
              <a:t>市场数据分析</a:t>
            </a:r>
            <a:endParaRPr lang="zh-CN" altLang="en-US" sz="2000">
              <a:solidFill>
                <a:schemeClr val="bg1"/>
              </a:solidFill>
              <a:latin typeface="+mj-lt"/>
              <a:ea typeface="+mj-ea"/>
              <a:sym typeface="+mn-lt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45085" y="1013460"/>
            <a:ext cx="3699631" cy="3493770"/>
            <a:chOff x="71" y="1141"/>
            <a:chExt cx="6308" cy="5957"/>
          </a:xfrm>
        </p:grpSpPr>
        <p:sp>
          <p:nvSpPr>
            <p:cNvPr id="59" name="同心圆 58"/>
            <p:cNvSpPr/>
            <p:nvPr/>
          </p:nvSpPr>
          <p:spPr>
            <a:xfrm>
              <a:off x="560" y="1710"/>
              <a:ext cx="5388" cy="5388"/>
            </a:xfrm>
            <a:prstGeom prst="donut">
              <a:avLst>
                <a:gd name="adj" fmla="val 5837"/>
              </a:avLst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" name="任意多边形 6"/>
            <p:cNvSpPr/>
            <p:nvPr>
              <p:custDataLst>
                <p:tags r:id="rId2"/>
              </p:custDataLst>
            </p:nvPr>
          </p:nvSpPr>
          <p:spPr>
            <a:xfrm>
              <a:off x="3010" y="4464"/>
              <a:ext cx="2370" cy="2118"/>
            </a:xfrm>
            <a:custGeom>
              <a:avLst/>
              <a:gdLst>
                <a:gd name="adj" fmla="val 24116"/>
                <a:gd name="a" fmla="pin 0 adj 50000"/>
                <a:gd name="dr" fmla="*/ ss a 100000"/>
                <a:gd name="iwd2" fmla="+- wd2 0 dr"/>
                <a:gd name="ihd2" fmla="+- hd2 0 dr"/>
                <a:gd name="idx" fmla="cos wd2 2700000"/>
                <a:gd name="idy" fmla="sin hd2 2700000"/>
                <a:gd name="il" fmla="+- hc 0 idx"/>
                <a:gd name="ir" fmla="+- hc idx 0"/>
                <a:gd name="it" fmla="+- vc 0 idy"/>
                <a:gd name="ib" fmla="+- vc idy 0"/>
              </a:gdLst>
              <a:ahLst/>
              <a:cxnLst>
                <a:cxn ang="3">
                  <a:pos x="hc" y="t"/>
                </a:cxn>
                <a:cxn ang="3">
                  <a:pos x="il" y="it"/>
                </a:cxn>
                <a:cxn ang="cd2">
                  <a:pos x="l" y="vc"/>
                </a:cxn>
                <a:cxn ang="cd4">
                  <a:pos x="il" y="ib"/>
                </a:cxn>
                <a:cxn ang="cd4">
                  <a:pos x="hc" y="b"/>
                </a:cxn>
                <a:cxn ang="cd4">
                  <a:pos x="ir" y="ib"/>
                </a:cxn>
                <a:cxn ang="0">
                  <a:pos x="r" y="vc"/>
                </a:cxn>
                <a:cxn ang="3">
                  <a:pos x="ir" y="it"/>
                </a:cxn>
              </a:cxnLst>
              <a:rect l="l" t="t" r="r" b="b"/>
              <a:pathLst>
                <a:path w="3160" h="2824">
                  <a:moveTo>
                    <a:pt x="1776" y="0"/>
                  </a:moveTo>
                  <a:lnTo>
                    <a:pt x="2499" y="723"/>
                  </a:lnTo>
                  <a:lnTo>
                    <a:pt x="3160" y="62"/>
                  </a:lnTo>
                  <a:lnTo>
                    <a:pt x="3160" y="82"/>
                  </a:lnTo>
                  <a:cubicBezTo>
                    <a:pt x="3112" y="1474"/>
                    <a:pt x="2073" y="2614"/>
                    <a:pt x="727" y="2820"/>
                  </a:cubicBezTo>
                  <a:lnTo>
                    <a:pt x="703" y="2824"/>
                  </a:lnTo>
                  <a:lnTo>
                    <a:pt x="0" y="2121"/>
                  </a:lnTo>
                  <a:lnTo>
                    <a:pt x="715" y="1406"/>
                  </a:lnTo>
                  <a:lnTo>
                    <a:pt x="732" y="1401"/>
                  </a:lnTo>
                  <a:cubicBezTo>
                    <a:pt x="1327" y="1216"/>
                    <a:pt x="1763" y="666"/>
                    <a:pt x="1776" y="13"/>
                  </a:cubicBezTo>
                  <a:lnTo>
                    <a:pt x="1776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56CA95">
                <a:shade val="50000"/>
              </a:srgbClr>
            </a:lnRef>
            <a:fillRef idx="1">
              <a:srgbClr val="56CA95"/>
            </a:fillRef>
            <a:effectRef idx="0">
              <a:srgbClr val="56CA95"/>
            </a:effectRef>
            <a:fontRef idx="minor">
              <a:srgbClr val="FFFFFF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sz="1350">
                <a:solidFill>
                  <a:srgbClr val="000000"/>
                </a:solidFill>
                <a:latin typeface="思源黑体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</p:txBody>
        </p:sp>
        <p:sp>
          <p:nvSpPr>
            <p:cNvPr id="65" name="任意多边形 64"/>
            <p:cNvSpPr/>
            <p:nvPr>
              <p:custDataLst>
                <p:tags r:id="rId3"/>
              </p:custDataLst>
            </p:nvPr>
          </p:nvSpPr>
          <p:spPr>
            <a:xfrm>
              <a:off x="3293" y="2297"/>
              <a:ext cx="2068" cy="2344"/>
            </a:xfrm>
            <a:custGeom>
              <a:avLst/>
              <a:gdLst>
                <a:gd name="adj" fmla="val 24116"/>
                <a:gd name="a" fmla="pin 0 adj 50000"/>
                <a:gd name="dr" fmla="*/ ss a 100000"/>
                <a:gd name="iwd2" fmla="+- wd2 0 dr"/>
                <a:gd name="ihd2" fmla="+- hd2 0 dr"/>
                <a:gd name="idx" fmla="cos wd2 2700000"/>
                <a:gd name="idy" fmla="sin hd2 2700000"/>
                <a:gd name="il" fmla="+- hc 0 idx"/>
                <a:gd name="ir" fmla="+- hc idx 0"/>
                <a:gd name="it" fmla="+- vc 0 idy"/>
                <a:gd name="ib" fmla="+- vc idy 0"/>
              </a:gdLst>
              <a:ahLst/>
              <a:cxnLst>
                <a:cxn ang="3">
                  <a:pos x="hc" y="t"/>
                </a:cxn>
                <a:cxn ang="3">
                  <a:pos x="il" y="it"/>
                </a:cxn>
                <a:cxn ang="cd2">
                  <a:pos x="l" y="vc"/>
                </a:cxn>
                <a:cxn ang="cd4">
                  <a:pos x="il" y="ib"/>
                </a:cxn>
                <a:cxn ang="cd4">
                  <a:pos x="hc" y="b"/>
                </a:cxn>
                <a:cxn ang="cd4">
                  <a:pos x="ir" y="ib"/>
                </a:cxn>
                <a:cxn ang="0">
                  <a:pos x="r" y="vc"/>
                </a:cxn>
                <a:cxn ang="3">
                  <a:pos x="ir" y="it"/>
                </a:cxn>
              </a:cxnLst>
              <a:rect l="l" t="t" r="r" b="b"/>
              <a:pathLst>
                <a:path w="2757" h="3125">
                  <a:moveTo>
                    <a:pt x="0" y="0"/>
                  </a:moveTo>
                  <a:lnTo>
                    <a:pt x="23" y="1"/>
                  </a:lnTo>
                  <a:cubicBezTo>
                    <a:pt x="1414" y="54"/>
                    <a:pt x="2551" y="1095"/>
                    <a:pt x="2752" y="2443"/>
                  </a:cubicBezTo>
                  <a:lnTo>
                    <a:pt x="2757" y="2477"/>
                  </a:lnTo>
                  <a:lnTo>
                    <a:pt x="2110" y="3125"/>
                  </a:lnTo>
                  <a:lnTo>
                    <a:pt x="1286" y="2301"/>
                  </a:lnTo>
                  <a:lnTo>
                    <a:pt x="1283" y="2294"/>
                  </a:lnTo>
                  <a:cubicBezTo>
                    <a:pt x="1076" y="1803"/>
                    <a:pt x="615" y="1447"/>
                    <a:pt x="64" y="1391"/>
                  </a:cubicBezTo>
                  <a:lnTo>
                    <a:pt x="35" y="1389"/>
                  </a:lnTo>
                  <a:lnTo>
                    <a:pt x="712" y="71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58B6E5">
                <a:shade val="50000"/>
              </a:srgbClr>
            </a:lnRef>
            <a:fillRef idx="1">
              <a:srgbClr val="58B6E5"/>
            </a:fillRef>
            <a:effectRef idx="0">
              <a:srgbClr val="58B6E5"/>
            </a:effectRef>
            <a:fontRef idx="minor">
              <a:srgbClr val="FFFFFF"/>
            </a:fontRef>
          </p:style>
          <p:txBody>
            <a:bodyPr wrap="square" rtlCol="0" anchor="ctr">
              <a:noAutofit/>
            </a:bodyPr>
            <a:lstStyle>
              <a:defPPr>
                <a:defRPr lang="zh-CN">
                  <a:solidFill>
                    <a:srgbClr val="FFFFFF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pPr algn="ctr"/>
              <a:endParaRPr lang="zh-CN" altLang="en-US" sz="1350">
                <a:solidFill>
                  <a:srgbClr val="000000"/>
                </a:solidFill>
                <a:latin typeface="思源黑体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</p:txBody>
        </p:sp>
        <p:sp>
          <p:nvSpPr>
            <p:cNvPr id="66" name="任意多边形 65"/>
            <p:cNvSpPr/>
            <p:nvPr>
              <p:custDataLst>
                <p:tags r:id="rId4"/>
              </p:custDataLst>
            </p:nvPr>
          </p:nvSpPr>
          <p:spPr>
            <a:xfrm>
              <a:off x="1075" y="2316"/>
              <a:ext cx="2388" cy="2086"/>
            </a:xfrm>
            <a:custGeom>
              <a:avLst/>
              <a:gdLst>
                <a:gd name="adj" fmla="val 24116"/>
                <a:gd name="a" fmla="pin 0 adj 50000"/>
                <a:gd name="dr" fmla="*/ ss a 100000"/>
                <a:gd name="iwd2" fmla="+- wd2 0 dr"/>
                <a:gd name="ihd2" fmla="+- hd2 0 dr"/>
                <a:gd name="idx" fmla="cos wd2 2700000"/>
                <a:gd name="idy" fmla="sin hd2 2700000"/>
                <a:gd name="il" fmla="+- hc 0 idx"/>
                <a:gd name="ir" fmla="+- hc idx 0"/>
                <a:gd name="it" fmla="+- vc 0 idy"/>
                <a:gd name="ib" fmla="+- vc idy 0"/>
              </a:gdLst>
              <a:ahLst/>
              <a:cxnLst>
                <a:cxn ang="3">
                  <a:pos x="hc" y="t"/>
                </a:cxn>
                <a:cxn ang="3">
                  <a:pos x="il" y="it"/>
                </a:cxn>
                <a:cxn ang="cd2">
                  <a:pos x="l" y="vc"/>
                </a:cxn>
                <a:cxn ang="cd4">
                  <a:pos x="il" y="ib"/>
                </a:cxn>
                <a:cxn ang="cd4">
                  <a:pos x="hc" y="b"/>
                </a:cxn>
                <a:cxn ang="cd4">
                  <a:pos x="ir" y="ib"/>
                </a:cxn>
                <a:cxn ang="0">
                  <a:pos x="r" y="vc"/>
                </a:cxn>
                <a:cxn ang="3">
                  <a:pos x="ir" y="it"/>
                </a:cxn>
              </a:cxnLst>
              <a:rect l="l" t="t" r="r" b="b"/>
              <a:pathLst>
                <a:path w="3184" h="2781">
                  <a:moveTo>
                    <a:pt x="2484" y="0"/>
                  </a:moveTo>
                  <a:lnTo>
                    <a:pt x="3184" y="699"/>
                  </a:lnTo>
                  <a:lnTo>
                    <a:pt x="2469" y="1414"/>
                  </a:lnTo>
                  <a:lnTo>
                    <a:pt x="2464" y="1416"/>
                  </a:lnTo>
                  <a:cubicBezTo>
                    <a:pt x="1909" y="1573"/>
                    <a:pt x="1486" y="2045"/>
                    <a:pt x="1400" y="2627"/>
                  </a:cubicBezTo>
                  <a:lnTo>
                    <a:pt x="1399" y="2639"/>
                  </a:lnTo>
                  <a:lnTo>
                    <a:pt x="770" y="2011"/>
                  </a:lnTo>
                  <a:lnTo>
                    <a:pt x="0" y="2781"/>
                  </a:lnTo>
                  <a:lnTo>
                    <a:pt x="0" y="2778"/>
                  </a:lnTo>
                  <a:cubicBezTo>
                    <a:pt x="33" y="1359"/>
                    <a:pt x="1095" y="194"/>
                    <a:pt x="2469" y="2"/>
                  </a:cubicBezTo>
                  <a:lnTo>
                    <a:pt x="2484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6096E6">
                <a:shade val="50000"/>
              </a:srgbClr>
            </a:lnRef>
            <a:fillRef idx="1">
              <a:srgbClr val="6096E6"/>
            </a:fillRef>
            <a:effectRef idx="0">
              <a:srgbClr val="6096E6"/>
            </a:effectRef>
            <a:fontRef idx="minor">
              <a:srgbClr val="FFFFFF"/>
            </a:fontRef>
          </p:style>
          <p:txBody>
            <a:bodyPr wrap="square" rtlCol="0" anchor="ctr">
              <a:noAutofit/>
            </a:bodyPr>
            <a:lstStyle>
              <a:defPPr>
                <a:defRPr lang="zh-CN">
                  <a:solidFill>
                    <a:srgbClr val="FFFFFF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pPr algn="ctr"/>
              <a:endParaRPr lang="zh-CN" altLang="en-US" sz="1350">
                <a:solidFill>
                  <a:srgbClr val="000000"/>
                </a:solidFill>
                <a:latin typeface="思源黑体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</p:txBody>
        </p:sp>
        <p:sp>
          <p:nvSpPr>
            <p:cNvPr id="67" name="任意多边形 66"/>
            <p:cNvSpPr/>
            <p:nvPr>
              <p:custDataLst>
                <p:tags r:id="rId5"/>
              </p:custDataLst>
            </p:nvPr>
          </p:nvSpPr>
          <p:spPr>
            <a:xfrm>
              <a:off x="1096" y="4189"/>
              <a:ext cx="2090" cy="2414"/>
            </a:xfrm>
            <a:custGeom>
              <a:avLst/>
              <a:gdLst>
                <a:gd name="adj" fmla="val 24116"/>
                <a:gd name="a" fmla="pin 0 adj 50000"/>
                <a:gd name="dr" fmla="*/ ss a 100000"/>
                <a:gd name="iwd2" fmla="+- wd2 0 dr"/>
                <a:gd name="ihd2" fmla="+- hd2 0 dr"/>
                <a:gd name="idx" fmla="cos wd2 2700000"/>
                <a:gd name="idy" fmla="sin hd2 2700000"/>
                <a:gd name="il" fmla="+- hc 0 idx"/>
                <a:gd name="ir" fmla="+- hc idx 0"/>
                <a:gd name="it" fmla="+- vc 0 idy"/>
                <a:gd name="ib" fmla="+- vc idy 0"/>
              </a:gdLst>
              <a:ahLst/>
              <a:cxnLst>
                <a:cxn ang="3">
                  <a:pos x="hc" y="t"/>
                </a:cxn>
                <a:cxn ang="3">
                  <a:pos x="il" y="it"/>
                </a:cxn>
                <a:cxn ang="cd2">
                  <a:pos x="l" y="vc"/>
                </a:cxn>
                <a:cxn ang="cd4">
                  <a:pos x="il" y="ib"/>
                </a:cxn>
                <a:cxn ang="cd4">
                  <a:pos x="hc" y="b"/>
                </a:cxn>
                <a:cxn ang="cd4">
                  <a:pos x="ir" y="ib"/>
                </a:cxn>
                <a:cxn ang="0">
                  <a:pos x="r" y="vc"/>
                </a:cxn>
                <a:cxn ang="3">
                  <a:pos x="ir" y="it"/>
                </a:cxn>
              </a:cxnLst>
              <a:rect l="l" t="t" r="r" b="b"/>
              <a:pathLst>
                <a:path w="2786" h="3219">
                  <a:moveTo>
                    <a:pt x="754" y="0"/>
                  </a:moveTo>
                  <a:lnTo>
                    <a:pt x="1383" y="628"/>
                  </a:lnTo>
                  <a:lnTo>
                    <a:pt x="1384" y="634"/>
                  </a:lnTo>
                  <a:cubicBezTo>
                    <a:pt x="1510" y="1281"/>
                    <a:pt x="2057" y="1779"/>
                    <a:pt x="2729" y="1830"/>
                  </a:cubicBezTo>
                  <a:lnTo>
                    <a:pt x="2735" y="1830"/>
                  </a:lnTo>
                  <a:lnTo>
                    <a:pt x="2066" y="2499"/>
                  </a:lnTo>
                  <a:lnTo>
                    <a:pt x="2786" y="3219"/>
                  </a:lnTo>
                  <a:lnTo>
                    <a:pt x="2769" y="3218"/>
                  </a:lnTo>
                  <a:cubicBezTo>
                    <a:pt x="1363" y="3183"/>
                    <a:pt x="208" y="2136"/>
                    <a:pt x="3" y="778"/>
                  </a:cubicBezTo>
                  <a:lnTo>
                    <a:pt x="0" y="754"/>
                  </a:lnTo>
                  <a:lnTo>
                    <a:pt x="754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FFBA55">
                <a:shade val="50000"/>
              </a:srgbClr>
            </a:lnRef>
            <a:fillRef idx="1">
              <a:srgbClr val="FFBA55"/>
            </a:fillRef>
            <a:effectRef idx="0">
              <a:srgbClr val="FFBA55"/>
            </a:effectRef>
            <a:fontRef idx="minor">
              <a:srgbClr val="FFFFFF"/>
            </a:fontRef>
          </p:style>
          <p:txBody>
            <a:bodyPr wrap="square" rtlCol="0" anchor="ctr">
              <a:noAutofit/>
            </a:bodyPr>
            <a:lstStyle>
              <a:defPPr>
                <a:defRPr lang="zh-CN">
                  <a:solidFill>
                    <a:srgbClr val="FFFFFF"/>
                  </a:solidFill>
                </a:defRPr>
              </a:defPPr>
              <a:lvl1pPr marL="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charset="-122"/>
                  <a:cs typeface="+mn-ea"/>
                </a:defRPr>
              </a:lvl9pPr>
            </a:lstStyle>
            <a:p>
              <a:pPr algn="ctr"/>
              <a:endParaRPr lang="zh-CN" altLang="en-US" sz="1350">
                <a:solidFill>
                  <a:srgbClr val="000000"/>
                </a:solidFill>
                <a:latin typeface="思源黑体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</p:txBody>
        </p:sp>
        <p:sp>
          <p:nvSpPr>
            <p:cNvPr id="8" name="文本框 7"/>
            <p:cNvSpPr txBox="1"/>
            <p:nvPr>
              <p:custDataLst>
                <p:tags r:id="rId6"/>
              </p:custDataLst>
            </p:nvPr>
          </p:nvSpPr>
          <p:spPr>
            <a:xfrm flipH="1">
              <a:off x="1291" y="2676"/>
              <a:ext cx="1889" cy="953"/>
            </a:xfrm>
            <a:prstGeom prst="rect">
              <a:avLst/>
            </a:prstGeom>
            <a:noFill/>
          </p:spPr>
          <p:txBody>
            <a:bodyPr wrap="square" bIns="0" rtlCol="0"/>
            <a:lstStyle/>
            <a:p>
              <a:pPr algn="ctr"/>
              <a:r>
                <a:rPr lang="zh-CN" altLang="en-US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</a:rPr>
                <a:t>爱国</a:t>
              </a:r>
              <a:endParaRPr lang="zh-CN" altLang="en-US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  <a:p>
              <a:pPr algn="ctr"/>
              <a:r>
                <a:rPr lang="zh-CN" altLang="en-US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</a:rPr>
                <a:t>情怀</a:t>
              </a:r>
              <a:endParaRPr lang="zh-CN" altLang="en-US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</a:endParaRPr>
            </a:p>
          </p:txBody>
        </p:sp>
        <p:sp>
          <p:nvSpPr>
            <p:cNvPr id="9" name="文本框 8"/>
            <p:cNvSpPr txBox="1"/>
            <p:nvPr>
              <p:custDataLst>
                <p:tags r:id="rId7"/>
              </p:custDataLst>
            </p:nvPr>
          </p:nvSpPr>
          <p:spPr>
            <a:xfrm>
              <a:off x="3770" y="2846"/>
              <a:ext cx="1573" cy="852"/>
            </a:xfrm>
            <a:prstGeom prst="rect">
              <a:avLst/>
            </a:prstGeom>
            <a:noFill/>
          </p:spPr>
          <p:txBody>
            <a:bodyPr wrap="square" bIns="0" rtlCol="0">
              <a:normAutofit fontScale="90000" lnSpcReduction="10000"/>
            </a:bodyPr>
            <a:lstStyle/>
            <a:p>
              <a:pPr lvl="0" algn="ctr"/>
              <a:r>
                <a:rPr lang="zh-CN" altLang="en-US" sz="18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社会</a:t>
              </a:r>
              <a:endParaRPr lang="zh-CN" altLang="en-US" sz="1800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  <a:sym typeface="微软雅黑" panose="020B0503020204020204" charset="-122"/>
              </a:endParaRPr>
            </a:p>
            <a:p>
              <a:pPr lvl="0" algn="ctr"/>
              <a:r>
                <a:rPr lang="zh-CN" altLang="en-US" sz="18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责任感</a:t>
              </a:r>
              <a:endParaRPr lang="zh-CN" altLang="en-US" sz="1800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  <a:sym typeface="微软雅黑" panose="020B0503020204020204" charset="-122"/>
              </a:endParaRPr>
            </a:p>
          </p:txBody>
        </p:sp>
        <p:sp>
          <p:nvSpPr>
            <p:cNvPr id="10" name="文本框 9"/>
            <p:cNvSpPr txBox="1"/>
            <p:nvPr>
              <p:custDataLst>
                <p:tags r:id="rId8"/>
              </p:custDataLst>
            </p:nvPr>
          </p:nvSpPr>
          <p:spPr>
            <a:xfrm>
              <a:off x="1465" y="5024"/>
              <a:ext cx="1165" cy="960"/>
            </a:xfrm>
            <a:prstGeom prst="rect">
              <a:avLst/>
            </a:prstGeom>
            <a:noFill/>
          </p:spPr>
          <p:txBody>
            <a:bodyPr wrap="square" bIns="0" rtlCol="0">
              <a:normAutofit fontScale="45000"/>
            </a:bodyPr>
            <a:lstStyle/>
            <a:p>
              <a:pPr lvl="0" algn="ctr"/>
              <a:r>
                <a:rPr lang="zh-CN" altLang="en-US" sz="30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实践</a:t>
              </a:r>
              <a:r>
                <a:rPr lang="zh-CN" altLang="en-US" sz="30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能力</a:t>
              </a:r>
              <a:endParaRPr lang="zh-CN" altLang="en-US" sz="3000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  <a:sym typeface="微软雅黑" panose="020B0503020204020204" charset="-122"/>
              </a:endParaRPr>
            </a:p>
          </p:txBody>
        </p:sp>
        <p:sp>
          <p:nvSpPr>
            <p:cNvPr id="11" name="文本框 10"/>
            <p:cNvSpPr txBox="1"/>
            <p:nvPr>
              <p:custDataLst>
                <p:tags r:id="rId9"/>
              </p:custDataLst>
            </p:nvPr>
          </p:nvSpPr>
          <p:spPr>
            <a:xfrm>
              <a:off x="3575" y="5242"/>
              <a:ext cx="1389" cy="957"/>
            </a:xfrm>
            <a:prstGeom prst="rect">
              <a:avLst/>
            </a:prstGeom>
            <a:noFill/>
          </p:spPr>
          <p:txBody>
            <a:bodyPr wrap="square" bIns="0" rtlCol="0">
              <a:normAutofit fontScale="45000"/>
            </a:bodyPr>
            <a:lstStyle/>
            <a:p>
              <a:pPr lvl="0" algn="ctr"/>
              <a:r>
                <a:rPr lang="zh-CN" altLang="en-US" sz="30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创新</a:t>
              </a:r>
              <a:r>
                <a:rPr lang="zh-CN" altLang="en-US" sz="3000" spc="300">
                  <a:solidFill>
                    <a:srgbClr val="FFFFFF"/>
                  </a:solidFill>
                  <a:uFillTx/>
                  <a:latin typeface="Source Han Sans CN" panose="020B0A00000000000000" charset="-122"/>
                  <a:ea typeface="思源黑体 CN" panose="020B0A00000000000000" charset="-122"/>
                  <a:cs typeface="思源黑体 CN" panose="020B0A00000000000000" charset="-122"/>
                  <a:sym typeface="微软雅黑" panose="020B0503020204020204" charset="-122"/>
                </a:rPr>
                <a:t>精神</a:t>
              </a:r>
              <a:endParaRPr lang="zh-CN" altLang="en-US" sz="3000" spc="300">
                <a:solidFill>
                  <a:srgbClr val="FFFFFF"/>
                </a:solidFill>
                <a:uFillTx/>
                <a:latin typeface="Source Han Sans CN" panose="020B0A00000000000000" charset="-122"/>
                <a:ea typeface="思源黑体 CN" panose="020B0A00000000000000" charset="-122"/>
                <a:cs typeface="思源黑体 CN" panose="020B0A00000000000000" charset="-122"/>
                <a:sym typeface="微软雅黑" panose="020B0503020204020204" charset="-122"/>
              </a:endParaRPr>
            </a:p>
          </p:txBody>
        </p:sp>
        <p:sp>
          <p:nvSpPr>
            <p:cNvPr id="33" name="文本框 32"/>
            <p:cNvSpPr txBox="1"/>
            <p:nvPr/>
          </p:nvSpPr>
          <p:spPr>
            <a:xfrm>
              <a:off x="2532" y="3720"/>
              <a:ext cx="1620" cy="162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pPr algn="l"/>
              <a:r>
                <a:rPr lang="zh-CN" altLang="en-US" sz="2800">
                  <a:solidFill>
                    <a:srgbClr val="51688A"/>
                  </a:solidFill>
                  <a:latin typeface="+mj-ea"/>
                  <a:ea typeface="+mj-ea"/>
                  <a:sym typeface="+mn-ea"/>
                </a:rPr>
                <a:t>立德</a:t>
              </a:r>
              <a:endParaRPr lang="zh-CN" altLang="en-US" sz="2800">
                <a:solidFill>
                  <a:srgbClr val="51688A"/>
                </a:solidFill>
                <a:latin typeface="+mj-ea"/>
                <a:ea typeface="+mj-ea"/>
                <a:sym typeface="+mn-ea"/>
              </a:endParaRPr>
            </a:p>
            <a:p>
              <a:pPr algn="l"/>
              <a:r>
                <a:rPr lang="zh-CN" altLang="en-US" sz="2800">
                  <a:solidFill>
                    <a:srgbClr val="51688A"/>
                  </a:solidFill>
                  <a:latin typeface="+mj-ea"/>
                  <a:ea typeface="+mj-ea"/>
                  <a:sym typeface="+mn-ea"/>
                </a:rPr>
                <a:t>树人</a:t>
              </a:r>
              <a:endParaRPr lang="zh-CN" altLang="en-US" sz="2800">
                <a:ea typeface="宋体" panose="02010600030101010101" pitchFamily="2" charset="-122"/>
                <a:sym typeface="+mn-ea"/>
              </a:endParaRPr>
            </a:p>
          </p:txBody>
        </p:sp>
        <p:sp>
          <p:nvSpPr>
            <p:cNvPr id="34" name="任意多边形 33"/>
            <p:cNvSpPr/>
            <p:nvPr>
              <p:custDataLst>
                <p:tags r:id="rId10"/>
              </p:custDataLst>
            </p:nvPr>
          </p:nvSpPr>
          <p:spPr>
            <a:xfrm>
              <a:off x="2569" y="1141"/>
              <a:ext cx="1201" cy="1201"/>
            </a:xfrm>
            <a:custGeom>
              <a:avLst/>
              <a:gdLst>
                <a:gd name="connsiteX0" fmla="*/ 0 w 1033244"/>
                <a:gd name="connsiteY0" fmla="*/ 516622 h 1033244"/>
                <a:gd name="connsiteX1" fmla="*/ 516622 w 1033244"/>
                <a:gd name="connsiteY1" fmla="*/ 0 h 1033244"/>
                <a:gd name="connsiteX2" fmla="*/ 1033244 w 1033244"/>
                <a:gd name="connsiteY2" fmla="*/ 516622 h 1033244"/>
                <a:gd name="connsiteX3" fmla="*/ 516622 w 1033244"/>
                <a:gd name="connsiteY3" fmla="*/ 1033244 h 1033244"/>
                <a:gd name="connsiteX4" fmla="*/ 0 w 1033244"/>
                <a:gd name="connsiteY4" fmla="*/ 516622 h 10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244" h="1033244">
                  <a:moveTo>
                    <a:pt x="0" y="516622"/>
                  </a:moveTo>
                  <a:cubicBezTo>
                    <a:pt x="0" y="231300"/>
                    <a:pt x="231300" y="0"/>
                    <a:pt x="516622" y="0"/>
                  </a:cubicBezTo>
                  <a:cubicBezTo>
                    <a:pt x="801944" y="0"/>
                    <a:pt x="1033244" y="231300"/>
                    <a:pt x="1033244" y="516622"/>
                  </a:cubicBezTo>
                  <a:cubicBezTo>
                    <a:pt x="1033244" y="801944"/>
                    <a:pt x="801944" y="1033244"/>
                    <a:pt x="516622" y="1033244"/>
                  </a:cubicBezTo>
                  <a:cubicBezTo>
                    <a:pt x="231300" y="1033244"/>
                    <a:pt x="0" y="801944"/>
                    <a:pt x="0" y="516622"/>
                  </a:cubicBezTo>
                  <a:close/>
                </a:path>
              </a:pathLst>
            </a:custGeom>
          </p:spPr>
          <p:style>
            <a:lnRef idx="2">
              <a:sysClr val="window" lastClr="FFFFFF">
                <a:hueOff val="0"/>
                <a:satOff val="0"/>
                <a:lumOff val="0"/>
                <a:alphaOff val="0"/>
              </a:sysClr>
            </a:lnRef>
            <a:fillRef idx="1">
              <a:srgbClr val="F23A48">
                <a:hueOff val="0"/>
                <a:satOff val="0"/>
                <a:lumOff val="0"/>
                <a:alphaOff val="0"/>
              </a:srgbClr>
            </a:fillRef>
            <a:effectRef idx="0">
              <a:srgbClr val="F23A48">
                <a:hueOff val="0"/>
                <a:satOff val="0"/>
                <a:lumOff val="0"/>
                <a:alphaOff val="0"/>
              </a:srgbClr>
            </a:effectRef>
            <a:fontRef idx="minor">
              <a:sysClr val="window" lastClr="FFFFFF"/>
            </a:fontRef>
          </p:style>
          <p:txBody>
            <a:bodyPr spcFirstLastPara="0" vert="horz" wrap="square" lIns="130631" tIns="130631" rIns="130631" bIns="130631" numCol="1" spcCol="1270" anchor="ctr" anchorCtr="0">
              <a:norm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800" kern="1200" dirty="0">
                  <a:solidFill>
                    <a:sysClr val="window" lastClr="FFFFFF"/>
                  </a:solidFill>
                </a:rPr>
                <a:t>德</a:t>
              </a:r>
              <a:endParaRPr lang="zh-CN" altLang="en-US" sz="2800" kern="120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40" name="任意多边形 39"/>
            <p:cNvSpPr/>
            <p:nvPr>
              <p:custDataLst>
                <p:tags r:id="rId11"/>
              </p:custDataLst>
            </p:nvPr>
          </p:nvSpPr>
          <p:spPr>
            <a:xfrm>
              <a:off x="5196" y="2935"/>
              <a:ext cx="1183" cy="1183"/>
            </a:xfrm>
            <a:custGeom>
              <a:avLst/>
              <a:gdLst>
                <a:gd name="connsiteX0" fmla="*/ 0 w 1033244"/>
                <a:gd name="connsiteY0" fmla="*/ 516622 h 1033244"/>
                <a:gd name="connsiteX1" fmla="*/ 516622 w 1033244"/>
                <a:gd name="connsiteY1" fmla="*/ 0 h 1033244"/>
                <a:gd name="connsiteX2" fmla="*/ 1033244 w 1033244"/>
                <a:gd name="connsiteY2" fmla="*/ 516622 h 1033244"/>
                <a:gd name="connsiteX3" fmla="*/ 516622 w 1033244"/>
                <a:gd name="connsiteY3" fmla="*/ 1033244 h 1033244"/>
                <a:gd name="connsiteX4" fmla="*/ 0 w 1033244"/>
                <a:gd name="connsiteY4" fmla="*/ 516622 h 10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244" h="1033244">
                  <a:moveTo>
                    <a:pt x="0" y="516622"/>
                  </a:moveTo>
                  <a:cubicBezTo>
                    <a:pt x="0" y="231300"/>
                    <a:pt x="231300" y="0"/>
                    <a:pt x="516622" y="0"/>
                  </a:cubicBezTo>
                  <a:cubicBezTo>
                    <a:pt x="801944" y="0"/>
                    <a:pt x="1033244" y="231300"/>
                    <a:pt x="1033244" y="516622"/>
                  </a:cubicBezTo>
                  <a:cubicBezTo>
                    <a:pt x="1033244" y="801944"/>
                    <a:pt x="801944" y="1033244"/>
                    <a:pt x="516622" y="1033244"/>
                  </a:cubicBezTo>
                  <a:cubicBezTo>
                    <a:pt x="231300" y="1033244"/>
                    <a:pt x="0" y="801944"/>
                    <a:pt x="0" y="516622"/>
                  </a:cubicBezTo>
                  <a:close/>
                </a:path>
              </a:pathLst>
            </a:custGeom>
            <a:solidFill>
              <a:srgbClr val="B3D236"/>
            </a:solidFill>
          </p:spPr>
          <p:style>
            <a:lnRef idx="2">
              <a:sysClr val="window" lastClr="FFFFFF">
                <a:hueOff val="0"/>
                <a:satOff val="0"/>
                <a:lumOff val="0"/>
                <a:alphaOff val="0"/>
              </a:sysClr>
            </a:lnRef>
            <a:fillRef idx="1">
              <a:scrgbClr r="0" g="0" b="0"/>
            </a:fillRef>
            <a:effectRef idx="0">
              <a:srgbClr val="F23A48">
                <a:hueOff val="0"/>
                <a:satOff val="0"/>
                <a:lumOff val="0"/>
                <a:alphaOff val="0"/>
              </a:srgbClr>
            </a:effectRef>
            <a:fontRef idx="minor">
              <a:sysClr val="window" lastClr="FFFFFF"/>
            </a:fontRef>
          </p:style>
          <p:txBody>
            <a:bodyPr spcFirstLastPara="0" vert="horz" wrap="square" lIns="130631" tIns="130631" rIns="130631" bIns="130631" numCol="1" spcCol="1270" anchor="ctr" anchorCtr="0">
              <a:normAutofit lnSpcReduction="10000"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800" kern="1200" dirty="0">
                  <a:solidFill>
                    <a:sysClr val="window" lastClr="FFFFFF"/>
                  </a:solidFill>
                </a:rPr>
                <a:t>智</a:t>
              </a:r>
              <a:endParaRPr lang="zh-CN" altLang="en-US" sz="2800" kern="120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42" name="任意多边形 41"/>
            <p:cNvSpPr/>
            <p:nvPr>
              <p:custDataLst>
                <p:tags r:id="rId12"/>
              </p:custDataLst>
            </p:nvPr>
          </p:nvSpPr>
          <p:spPr>
            <a:xfrm>
              <a:off x="4643" y="5740"/>
              <a:ext cx="1219" cy="1219"/>
            </a:xfrm>
            <a:custGeom>
              <a:avLst/>
              <a:gdLst>
                <a:gd name="connsiteX0" fmla="*/ 0 w 1033244"/>
                <a:gd name="connsiteY0" fmla="*/ 516622 h 1033244"/>
                <a:gd name="connsiteX1" fmla="*/ 516622 w 1033244"/>
                <a:gd name="connsiteY1" fmla="*/ 0 h 1033244"/>
                <a:gd name="connsiteX2" fmla="*/ 1033244 w 1033244"/>
                <a:gd name="connsiteY2" fmla="*/ 516622 h 1033244"/>
                <a:gd name="connsiteX3" fmla="*/ 516622 w 1033244"/>
                <a:gd name="connsiteY3" fmla="*/ 1033244 h 1033244"/>
                <a:gd name="connsiteX4" fmla="*/ 0 w 1033244"/>
                <a:gd name="connsiteY4" fmla="*/ 516622 h 10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244" h="1033244">
                  <a:moveTo>
                    <a:pt x="0" y="516622"/>
                  </a:moveTo>
                  <a:cubicBezTo>
                    <a:pt x="0" y="231300"/>
                    <a:pt x="231300" y="0"/>
                    <a:pt x="516622" y="0"/>
                  </a:cubicBezTo>
                  <a:cubicBezTo>
                    <a:pt x="801944" y="0"/>
                    <a:pt x="1033244" y="231300"/>
                    <a:pt x="1033244" y="516622"/>
                  </a:cubicBezTo>
                  <a:cubicBezTo>
                    <a:pt x="1033244" y="801944"/>
                    <a:pt x="801944" y="1033244"/>
                    <a:pt x="516622" y="1033244"/>
                  </a:cubicBezTo>
                  <a:cubicBezTo>
                    <a:pt x="231300" y="1033244"/>
                    <a:pt x="0" y="801944"/>
                    <a:pt x="0" y="516622"/>
                  </a:cubicBezTo>
                  <a:close/>
                </a:path>
              </a:pathLst>
            </a:custGeom>
            <a:solidFill>
              <a:srgbClr val="885880"/>
            </a:solidFill>
          </p:spPr>
          <p:style>
            <a:lnRef idx="2">
              <a:sysClr val="window" lastClr="FFFFFF">
                <a:hueOff val="0"/>
                <a:satOff val="0"/>
                <a:lumOff val="0"/>
                <a:alphaOff val="0"/>
              </a:sysClr>
            </a:lnRef>
            <a:fillRef idx="1">
              <a:scrgbClr r="0" g="0" b="0"/>
            </a:fillRef>
            <a:effectRef idx="0">
              <a:srgbClr val="F23A48">
                <a:hueOff val="0"/>
                <a:satOff val="0"/>
                <a:lumOff val="0"/>
                <a:alphaOff val="0"/>
              </a:srgbClr>
            </a:effectRef>
            <a:fontRef idx="minor">
              <a:sysClr val="window" lastClr="FFFFFF"/>
            </a:fontRef>
          </p:style>
          <p:txBody>
            <a:bodyPr spcFirstLastPara="0" vert="horz" wrap="square" lIns="130631" tIns="130631" rIns="130631" bIns="130631" numCol="1" spcCol="1270" anchor="ctr" anchorCtr="0">
              <a:norm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800" kern="1200" dirty="0">
                  <a:solidFill>
                    <a:sysClr val="window" lastClr="FFFFFF"/>
                  </a:solidFill>
                </a:rPr>
                <a:t>体</a:t>
              </a:r>
              <a:endParaRPr lang="zh-CN" altLang="en-US" sz="2800" kern="120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44" name="任意多边形 43"/>
            <p:cNvSpPr/>
            <p:nvPr>
              <p:custDataLst>
                <p:tags r:id="rId13"/>
              </p:custDataLst>
            </p:nvPr>
          </p:nvSpPr>
          <p:spPr>
            <a:xfrm>
              <a:off x="560" y="5740"/>
              <a:ext cx="1157" cy="1157"/>
            </a:xfrm>
            <a:custGeom>
              <a:avLst/>
              <a:gdLst>
                <a:gd name="connsiteX0" fmla="*/ 0 w 1033244"/>
                <a:gd name="connsiteY0" fmla="*/ 516622 h 1033244"/>
                <a:gd name="connsiteX1" fmla="*/ 516622 w 1033244"/>
                <a:gd name="connsiteY1" fmla="*/ 0 h 1033244"/>
                <a:gd name="connsiteX2" fmla="*/ 1033244 w 1033244"/>
                <a:gd name="connsiteY2" fmla="*/ 516622 h 1033244"/>
                <a:gd name="connsiteX3" fmla="*/ 516622 w 1033244"/>
                <a:gd name="connsiteY3" fmla="*/ 1033244 h 1033244"/>
                <a:gd name="connsiteX4" fmla="*/ 0 w 1033244"/>
                <a:gd name="connsiteY4" fmla="*/ 516622 h 10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244" h="1033244">
                  <a:moveTo>
                    <a:pt x="0" y="516622"/>
                  </a:moveTo>
                  <a:cubicBezTo>
                    <a:pt x="0" y="231300"/>
                    <a:pt x="231300" y="0"/>
                    <a:pt x="516622" y="0"/>
                  </a:cubicBezTo>
                  <a:cubicBezTo>
                    <a:pt x="801944" y="0"/>
                    <a:pt x="1033244" y="231300"/>
                    <a:pt x="1033244" y="516622"/>
                  </a:cubicBezTo>
                  <a:cubicBezTo>
                    <a:pt x="1033244" y="801944"/>
                    <a:pt x="801944" y="1033244"/>
                    <a:pt x="516622" y="1033244"/>
                  </a:cubicBezTo>
                  <a:cubicBezTo>
                    <a:pt x="231300" y="1033244"/>
                    <a:pt x="0" y="801944"/>
                    <a:pt x="0" y="516622"/>
                  </a:cubicBezTo>
                  <a:close/>
                </a:path>
              </a:pathLst>
            </a:custGeom>
            <a:solidFill>
              <a:srgbClr val="F6712E"/>
            </a:solidFill>
          </p:spPr>
          <p:style>
            <a:lnRef idx="2">
              <a:sysClr val="window" lastClr="FFFFFF">
                <a:hueOff val="0"/>
                <a:satOff val="0"/>
                <a:lumOff val="0"/>
                <a:alphaOff val="0"/>
              </a:sysClr>
            </a:lnRef>
            <a:fillRef idx="1">
              <a:scrgbClr r="0" g="0" b="0"/>
            </a:fillRef>
            <a:effectRef idx="0">
              <a:srgbClr val="F23A48">
                <a:hueOff val="0"/>
                <a:satOff val="0"/>
                <a:lumOff val="0"/>
                <a:alphaOff val="0"/>
              </a:srgbClr>
            </a:effectRef>
            <a:fontRef idx="minor">
              <a:sysClr val="window" lastClr="FFFFFF"/>
            </a:fontRef>
          </p:style>
          <p:txBody>
            <a:bodyPr spcFirstLastPara="0" vert="horz" wrap="square" lIns="130631" tIns="130631" rIns="130631" bIns="130631" numCol="1" spcCol="1270" anchor="ctr" anchorCtr="0">
              <a:normAutofit fontScale="90000"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800" kern="1200" dirty="0">
                  <a:solidFill>
                    <a:sysClr val="window" lastClr="FFFFFF"/>
                  </a:solidFill>
                </a:rPr>
                <a:t>美</a:t>
              </a:r>
              <a:endParaRPr lang="zh-CN" altLang="en-US" sz="2800" kern="120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46" name="任意多边形 45"/>
            <p:cNvSpPr/>
            <p:nvPr>
              <p:custDataLst>
                <p:tags r:id="rId14"/>
              </p:custDataLst>
            </p:nvPr>
          </p:nvSpPr>
          <p:spPr>
            <a:xfrm>
              <a:off x="71" y="2874"/>
              <a:ext cx="1201" cy="1201"/>
            </a:xfrm>
            <a:custGeom>
              <a:avLst/>
              <a:gdLst>
                <a:gd name="connsiteX0" fmla="*/ 0 w 1033244"/>
                <a:gd name="connsiteY0" fmla="*/ 516622 h 1033244"/>
                <a:gd name="connsiteX1" fmla="*/ 516622 w 1033244"/>
                <a:gd name="connsiteY1" fmla="*/ 0 h 1033244"/>
                <a:gd name="connsiteX2" fmla="*/ 1033244 w 1033244"/>
                <a:gd name="connsiteY2" fmla="*/ 516622 h 1033244"/>
                <a:gd name="connsiteX3" fmla="*/ 516622 w 1033244"/>
                <a:gd name="connsiteY3" fmla="*/ 1033244 h 1033244"/>
                <a:gd name="connsiteX4" fmla="*/ 0 w 1033244"/>
                <a:gd name="connsiteY4" fmla="*/ 516622 h 103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3244" h="1033244">
                  <a:moveTo>
                    <a:pt x="0" y="516622"/>
                  </a:moveTo>
                  <a:cubicBezTo>
                    <a:pt x="0" y="231300"/>
                    <a:pt x="231300" y="0"/>
                    <a:pt x="516622" y="0"/>
                  </a:cubicBezTo>
                  <a:cubicBezTo>
                    <a:pt x="801944" y="0"/>
                    <a:pt x="1033244" y="231300"/>
                    <a:pt x="1033244" y="516622"/>
                  </a:cubicBezTo>
                  <a:cubicBezTo>
                    <a:pt x="1033244" y="801944"/>
                    <a:pt x="801944" y="1033244"/>
                    <a:pt x="516622" y="1033244"/>
                  </a:cubicBezTo>
                  <a:cubicBezTo>
                    <a:pt x="231300" y="1033244"/>
                    <a:pt x="0" y="801944"/>
                    <a:pt x="0" y="516622"/>
                  </a:cubicBezTo>
                  <a:close/>
                </a:path>
              </a:pathLst>
            </a:custGeom>
            <a:solidFill>
              <a:srgbClr val="FFCF00"/>
            </a:solidFill>
          </p:spPr>
          <p:style>
            <a:lnRef idx="2">
              <a:sysClr val="window" lastClr="FFFFFF">
                <a:hueOff val="0"/>
                <a:satOff val="0"/>
                <a:lumOff val="0"/>
                <a:alphaOff val="0"/>
              </a:sysClr>
            </a:lnRef>
            <a:fillRef idx="1">
              <a:scrgbClr r="0" g="0" b="0"/>
            </a:fillRef>
            <a:effectRef idx="0">
              <a:srgbClr val="F23A48">
                <a:hueOff val="0"/>
                <a:satOff val="0"/>
                <a:lumOff val="0"/>
                <a:alphaOff val="0"/>
              </a:srgbClr>
            </a:effectRef>
            <a:fontRef idx="minor">
              <a:sysClr val="window" lastClr="FFFFFF"/>
            </a:fontRef>
          </p:style>
          <p:txBody>
            <a:bodyPr spcFirstLastPara="0" vert="horz" wrap="square" lIns="130631" tIns="130631" rIns="130631" bIns="130631" numCol="1" spcCol="1270" anchor="ctr" anchorCtr="0">
              <a:norm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800" kern="1200" dirty="0">
                  <a:solidFill>
                    <a:sysClr val="window" lastClr="FFFFFF"/>
                  </a:solidFill>
                </a:rPr>
                <a:t>劳</a:t>
              </a:r>
              <a:endParaRPr lang="zh-CN" altLang="en-US" sz="2800" kern="1200" dirty="0">
                <a:solidFill>
                  <a:sysClr val="window" lastClr="FFFFFF"/>
                </a:solidFill>
              </a:endParaRPr>
            </a:p>
          </p:txBody>
        </p:sp>
      </p:grpSp>
      <p:pic>
        <p:nvPicPr>
          <p:cNvPr id="3" name="图片 2" descr="15584a06c6164383a6ac74ff5be36a5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86505" y="1334770"/>
            <a:ext cx="2535555" cy="2869565"/>
          </a:xfrm>
          <a:prstGeom prst="rect">
            <a:avLst/>
          </a:prstGeom>
        </p:spPr>
      </p:pic>
      <p:pic>
        <p:nvPicPr>
          <p:cNvPr id="4" name="图片 3" descr="QQ图片20220823143605"/>
          <p:cNvPicPr>
            <a:picLocks noChangeAspect="1"/>
          </p:cNvPicPr>
          <p:nvPr/>
        </p:nvPicPr>
        <p:blipFill>
          <a:blip r:embed="rId16">
            <a:clrChange>
              <a:clrFrom>
                <a:srgbClr val="000000">
                  <a:alpha val="100000"/>
                </a:srgbClr>
              </a:clrFrom>
              <a:clrTo>
                <a:srgbClr val="000000">
                  <a:alpha val="100000"/>
                  <a:alpha val="0"/>
                </a:srgbClr>
              </a:clrTo>
            </a:clrChange>
          </a:blip>
          <a:srcRect l="20494" t="7926" r="19148" b="7741"/>
          <a:stretch>
            <a:fillRect/>
          </a:stretch>
        </p:blipFill>
        <p:spPr>
          <a:xfrm>
            <a:off x="6616700" y="1262380"/>
            <a:ext cx="2322195" cy="32448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fill="hold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6"/>
          <p:cNvSpPr txBox="1">
            <a:spLocks noChangeArrowheads="1"/>
          </p:cNvSpPr>
          <p:nvPr/>
        </p:nvSpPr>
        <p:spPr bwMode="auto">
          <a:xfrm>
            <a:off x="1775460" y="332860"/>
            <a:ext cx="47548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+mj-ea"/>
                <a:ea typeface="+mj-ea"/>
              </a:rPr>
              <a:t>现状分析——优势分析</a:t>
            </a:r>
            <a:endParaRPr lang="zh-CN" altLang="en-US" sz="3600">
              <a:solidFill>
                <a:srgbClr val="51688A"/>
              </a:solidFill>
              <a:latin typeface="+mj-ea"/>
              <a:ea typeface="+mj-ea"/>
            </a:endParaRPr>
          </a:p>
        </p:txBody>
      </p:sp>
      <p:sp>
        <p:nvSpPr>
          <p:cNvPr id="16" name="矩形 15" descr="e7d195523061f1c09e9d68d7cf438b91ef959ecb14fc25d26BBA7F7DBC18E55DFF4014AF651F0BF2569D4B6C1DA7F1A4683A481403BD872FC687266AD13265C1DE7C373772FD8728ABDD69ADD03BFF5BE2862BC891DBB79EC884C45A5F465464F4471A44E2E9B6024498CDCB4F20168DAB66C7FAB51F4DF2191988BC51E8947C5543912A7B2AB33F8B6FFDD33C59E19B"/>
          <p:cNvSpPr/>
          <p:nvPr/>
        </p:nvSpPr>
        <p:spPr>
          <a:xfrm>
            <a:off x="4146684" y="3587482"/>
            <a:ext cx="2689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+mj-lt"/>
                <a:ea typeface="+mj-ea"/>
                <a:sym typeface="+mn-lt"/>
              </a:rPr>
              <a:t>市场数据分析</a:t>
            </a:r>
            <a:endParaRPr lang="zh-CN" altLang="en-US" sz="2000">
              <a:solidFill>
                <a:schemeClr val="bg1"/>
              </a:solidFill>
              <a:latin typeface="+mj-lt"/>
              <a:ea typeface="+mj-ea"/>
              <a:sym typeface="+mn-lt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 rot="16200000">
            <a:off x="6257925" y="1123315"/>
            <a:ext cx="1689735" cy="23183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图片 1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18840" y="1391920"/>
            <a:ext cx="2306320" cy="17297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图片 4" descr="logo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  <p:sp>
        <p:nvSpPr>
          <p:cNvPr id="100" name="文本框 99"/>
          <p:cNvSpPr txBox="1"/>
          <p:nvPr/>
        </p:nvSpPr>
        <p:spPr>
          <a:xfrm>
            <a:off x="591185" y="3647440"/>
            <a:ext cx="2561590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zh-CN" b="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“弘雅”课堂规程制定</a:t>
            </a:r>
            <a:endParaRPr lang="zh-CN" altLang="en-US" b="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5413375" y="3647440"/>
            <a:ext cx="1349375" cy="36830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algn="l">
              <a:buClrTx/>
              <a:buSzTx/>
              <a:buFontTx/>
            </a:pPr>
            <a:r>
              <a:rPr lang="zh-CN" b="0">
                <a:latin typeface="楷体" panose="02010609060101010101" charset="-122"/>
                <a:ea typeface="楷体" panose="02010609060101010101" charset="-122"/>
                <a:cs typeface="楷体" panose="02010609060101010101" charset="-122"/>
              </a:rPr>
              <a:t>教科研获奖</a:t>
            </a:r>
            <a:endParaRPr lang="zh-CN" b="0">
              <a:latin typeface="楷体" panose="02010609060101010101" charset="-122"/>
              <a:ea typeface="楷体" panose="02010609060101010101" charset="-122"/>
              <a:cs typeface="楷体" panose="02010609060101010101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0" y="1299845"/>
            <a:ext cx="2656840" cy="175704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6"/>
          <p:cNvSpPr txBox="1">
            <a:spLocks noChangeArrowheads="1"/>
          </p:cNvSpPr>
          <p:nvPr/>
        </p:nvSpPr>
        <p:spPr bwMode="auto">
          <a:xfrm>
            <a:off x="1892935" y="306190"/>
            <a:ext cx="47548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+mj-ea"/>
                <a:ea typeface="+mj-ea"/>
              </a:rPr>
              <a:t>现状分析——潜势分析</a:t>
            </a:r>
            <a:endParaRPr lang="zh-CN" altLang="en-US" sz="3600">
              <a:solidFill>
                <a:srgbClr val="51688A"/>
              </a:solidFill>
              <a:latin typeface="+mj-ea"/>
              <a:ea typeface="+mj-ea"/>
            </a:endParaRPr>
          </a:p>
        </p:txBody>
      </p:sp>
      <p:sp>
        <p:nvSpPr>
          <p:cNvPr id="16" name="矩形 15" descr="e7d195523061f1c09e9d68d7cf438b91ef959ecb14fc25d26BBA7F7DBC18E55DFF4014AF651F0BF2569D4B6C1DA7F1A4683A481403BD872FC687266AD13265C1DE7C373772FD8728ABDD69ADD03BFF5BE2862BC891DBB79EC884C45A5F465464F4471A44E2E9B6024498CDCB4F20168DAB66C7FAB51F4DF2191988BC51E8947C5543912A7B2AB33F8B6FFDD33C59E19B"/>
          <p:cNvSpPr/>
          <p:nvPr/>
        </p:nvSpPr>
        <p:spPr>
          <a:xfrm>
            <a:off x="4146684" y="3587482"/>
            <a:ext cx="2689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+mj-lt"/>
                <a:ea typeface="+mj-ea"/>
                <a:sym typeface="+mn-lt"/>
              </a:rPr>
              <a:t>市场数据分析</a:t>
            </a:r>
            <a:endParaRPr lang="zh-CN" altLang="en-US" sz="2000">
              <a:solidFill>
                <a:schemeClr val="bg1"/>
              </a:solidFill>
              <a:latin typeface="+mj-lt"/>
              <a:ea typeface="+mj-ea"/>
              <a:sym typeface="+mn-lt"/>
            </a:endParaRPr>
          </a:p>
        </p:txBody>
      </p:sp>
      <p:sp>
        <p:nvSpPr>
          <p:cNvPr id="19465" name="Freeform 9"/>
          <p:cNvSpPr/>
          <p:nvPr>
            <p:custDataLst>
              <p:tags r:id="rId1"/>
            </p:custDataLst>
          </p:nvPr>
        </p:nvSpPr>
        <p:spPr bwMode="auto">
          <a:xfrm rot="19800000">
            <a:off x="2937379" y="1326914"/>
            <a:ext cx="1230695" cy="1416461"/>
          </a:xfrm>
          <a:custGeom>
            <a:avLst/>
            <a:gdLst>
              <a:gd name="T0" fmla="*/ 638 w 638"/>
              <a:gd name="T1" fmla="*/ 551 h 734"/>
              <a:gd name="T2" fmla="*/ 638 w 638"/>
              <a:gd name="T3" fmla="*/ 182 h 734"/>
              <a:gd name="T4" fmla="*/ 319 w 638"/>
              <a:gd name="T5" fmla="*/ 0 h 734"/>
              <a:gd name="T6" fmla="*/ 0 w 638"/>
              <a:gd name="T7" fmla="*/ 182 h 734"/>
              <a:gd name="T8" fmla="*/ 0 w 638"/>
              <a:gd name="T9" fmla="*/ 551 h 734"/>
              <a:gd name="T10" fmla="*/ 319 w 638"/>
              <a:gd name="T11" fmla="*/ 734 h 734"/>
              <a:gd name="T12" fmla="*/ 638 w 638"/>
              <a:gd name="T13" fmla="*/ 551 h 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8" h="734">
                <a:moveTo>
                  <a:pt x="638" y="551"/>
                </a:moveTo>
                <a:lnTo>
                  <a:pt x="638" y="182"/>
                </a:lnTo>
                <a:lnTo>
                  <a:pt x="319" y="0"/>
                </a:lnTo>
                <a:lnTo>
                  <a:pt x="0" y="182"/>
                </a:lnTo>
                <a:lnTo>
                  <a:pt x="0" y="551"/>
                </a:lnTo>
                <a:lnTo>
                  <a:pt x="319" y="734"/>
                </a:lnTo>
                <a:lnTo>
                  <a:pt x="638" y="551"/>
                </a:lnTo>
                <a:close/>
              </a:path>
            </a:pathLst>
          </a:custGeom>
          <a:solidFill>
            <a:srgbClr val="1D6DC2"/>
          </a:solidFill>
          <a:ln w="6350">
            <a:noFill/>
          </a:ln>
        </p:spPr>
        <p:txBody>
          <a:bodyPr lIns="91434" tIns="45717" rIns="91434" bIns="45717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9482" name="Freeform 26"/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3342207" y="1819976"/>
            <a:ext cx="424377" cy="428412"/>
          </a:xfrm>
          <a:custGeom>
            <a:avLst/>
            <a:gdLst>
              <a:gd name="T0" fmla="*/ 52 w 105"/>
              <a:gd name="T1" fmla="*/ 0 h 106"/>
              <a:gd name="T2" fmla="*/ 89 w 105"/>
              <a:gd name="T3" fmla="*/ 16 h 106"/>
              <a:gd name="T4" fmla="*/ 90 w 105"/>
              <a:gd name="T5" fmla="*/ 16 h 106"/>
              <a:gd name="T6" fmla="*/ 105 w 105"/>
              <a:gd name="T7" fmla="*/ 53 h 106"/>
              <a:gd name="T8" fmla="*/ 89 w 105"/>
              <a:gd name="T9" fmla="*/ 90 h 106"/>
              <a:gd name="T10" fmla="*/ 89 w 105"/>
              <a:gd name="T11" fmla="*/ 90 h 106"/>
              <a:gd name="T12" fmla="*/ 52 w 105"/>
              <a:gd name="T13" fmla="*/ 106 h 106"/>
              <a:gd name="T14" fmla="*/ 15 w 105"/>
              <a:gd name="T15" fmla="*/ 90 h 106"/>
              <a:gd name="T16" fmla="*/ 0 w 105"/>
              <a:gd name="T17" fmla="*/ 53 h 106"/>
              <a:gd name="T18" fmla="*/ 15 w 105"/>
              <a:gd name="T19" fmla="*/ 16 h 106"/>
              <a:gd name="T20" fmla="*/ 15 w 105"/>
              <a:gd name="T21" fmla="*/ 16 h 106"/>
              <a:gd name="T22" fmla="*/ 15 w 105"/>
              <a:gd name="T23" fmla="*/ 16 h 106"/>
              <a:gd name="T24" fmla="*/ 52 w 105"/>
              <a:gd name="T25" fmla="*/ 0 h 106"/>
              <a:gd name="T26" fmla="*/ 75 w 105"/>
              <a:gd name="T27" fmla="*/ 49 h 106"/>
              <a:gd name="T28" fmla="*/ 75 w 105"/>
              <a:gd name="T29" fmla="*/ 49 h 106"/>
              <a:gd name="T30" fmla="*/ 56 w 105"/>
              <a:gd name="T31" fmla="*/ 49 h 106"/>
              <a:gd name="T32" fmla="*/ 56 w 105"/>
              <a:gd name="T33" fmla="*/ 17 h 106"/>
              <a:gd name="T34" fmla="*/ 52 w 105"/>
              <a:gd name="T35" fmla="*/ 13 h 106"/>
              <a:gd name="T36" fmla="*/ 48 w 105"/>
              <a:gd name="T37" fmla="*/ 17 h 106"/>
              <a:gd name="T38" fmla="*/ 48 w 105"/>
              <a:gd name="T39" fmla="*/ 53 h 106"/>
              <a:gd name="T40" fmla="*/ 48 w 105"/>
              <a:gd name="T41" fmla="*/ 53 h 106"/>
              <a:gd name="T42" fmla="*/ 52 w 105"/>
              <a:gd name="T43" fmla="*/ 57 h 106"/>
              <a:gd name="T44" fmla="*/ 75 w 105"/>
              <a:gd name="T45" fmla="*/ 57 h 106"/>
              <a:gd name="T46" fmla="*/ 79 w 105"/>
              <a:gd name="T47" fmla="*/ 53 h 106"/>
              <a:gd name="T48" fmla="*/ 75 w 105"/>
              <a:gd name="T49" fmla="*/ 49 h 106"/>
              <a:gd name="T50" fmla="*/ 84 w 105"/>
              <a:gd name="T51" fmla="*/ 22 h 106"/>
              <a:gd name="T52" fmla="*/ 84 w 105"/>
              <a:gd name="T53" fmla="*/ 22 h 106"/>
              <a:gd name="T54" fmla="*/ 52 w 105"/>
              <a:gd name="T55" fmla="*/ 8 h 106"/>
              <a:gd name="T56" fmla="*/ 21 w 105"/>
              <a:gd name="T57" fmla="*/ 21 h 106"/>
              <a:gd name="T58" fmla="*/ 21 w 105"/>
              <a:gd name="T59" fmla="*/ 22 h 106"/>
              <a:gd name="T60" fmla="*/ 8 w 105"/>
              <a:gd name="T61" fmla="*/ 53 h 106"/>
              <a:gd name="T62" fmla="*/ 21 w 105"/>
              <a:gd name="T63" fmla="*/ 84 h 106"/>
              <a:gd name="T64" fmla="*/ 52 w 105"/>
              <a:gd name="T65" fmla="*/ 98 h 106"/>
              <a:gd name="T66" fmla="*/ 83 w 105"/>
              <a:gd name="T67" fmla="*/ 85 h 106"/>
              <a:gd name="T68" fmla="*/ 84 w 105"/>
              <a:gd name="T69" fmla="*/ 84 h 106"/>
              <a:gd name="T70" fmla="*/ 97 w 105"/>
              <a:gd name="T71" fmla="*/ 53 h 106"/>
              <a:gd name="T72" fmla="*/ 84 w 105"/>
              <a:gd name="T73" fmla="*/ 22 h 106"/>
              <a:gd name="T74" fmla="*/ 84 w 105"/>
              <a:gd name="T75" fmla="*/ 2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05" h="106">
                <a:moveTo>
                  <a:pt x="52" y="0"/>
                </a:moveTo>
                <a:cubicBezTo>
                  <a:pt x="67" y="0"/>
                  <a:pt x="80" y="6"/>
                  <a:pt x="89" y="16"/>
                </a:cubicBezTo>
                <a:cubicBezTo>
                  <a:pt x="90" y="16"/>
                  <a:pt x="90" y="16"/>
                  <a:pt x="90" y="16"/>
                </a:cubicBezTo>
                <a:cubicBezTo>
                  <a:pt x="99" y="26"/>
                  <a:pt x="105" y="39"/>
                  <a:pt x="105" y="53"/>
                </a:cubicBezTo>
                <a:cubicBezTo>
                  <a:pt x="105" y="68"/>
                  <a:pt x="99" y="81"/>
                  <a:pt x="89" y="90"/>
                </a:cubicBezTo>
                <a:cubicBezTo>
                  <a:pt x="89" y="90"/>
                  <a:pt x="89" y="90"/>
                  <a:pt x="89" y="90"/>
                </a:cubicBezTo>
                <a:cubicBezTo>
                  <a:pt x="80" y="100"/>
                  <a:pt x="67" y="106"/>
                  <a:pt x="52" y="106"/>
                </a:cubicBezTo>
                <a:cubicBezTo>
                  <a:pt x="38" y="106"/>
                  <a:pt x="24" y="100"/>
                  <a:pt x="15" y="90"/>
                </a:cubicBezTo>
                <a:cubicBezTo>
                  <a:pt x="5" y="81"/>
                  <a:pt x="0" y="68"/>
                  <a:pt x="0" y="53"/>
                </a:cubicBezTo>
                <a:cubicBezTo>
                  <a:pt x="0" y="39"/>
                  <a:pt x="5" y="25"/>
                  <a:pt x="15" y="16"/>
                </a:cubicBezTo>
                <a:cubicBezTo>
                  <a:pt x="15" y="16"/>
                  <a:pt x="15" y="16"/>
                  <a:pt x="15" y="16"/>
                </a:cubicBezTo>
                <a:cubicBezTo>
                  <a:pt x="15" y="16"/>
                  <a:pt x="15" y="16"/>
                  <a:pt x="15" y="16"/>
                </a:cubicBezTo>
                <a:cubicBezTo>
                  <a:pt x="24" y="6"/>
                  <a:pt x="38" y="0"/>
                  <a:pt x="52" y="0"/>
                </a:cubicBezTo>
                <a:close/>
                <a:moveTo>
                  <a:pt x="75" y="49"/>
                </a:moveTo>
                <a:cubicBezTo>
                  <a:pt x="75" y="49"/>
                  <a:pt x="75" y="49"/>
                  <a:pt x="75" y="49"/>
                </a:cubicBezTo>
                <a:cubicBezTo>
                  <a:pt x="56" y="49"/>
                  <a:pt x="56" y="49"/>
                  <a:pt x="56" y="49"/>
                </a:cubicBezTo>
                <a:cubicBezTo>
                  <a:pt x="56" y="17"/>
                  <a:pt x="56" y="17"/>
                  <a:pt x="56" y="17"/>
                </a:cubicBezTo>
                <a:cubicBezTo>
                  <a:pt x="56" y="15"/>
                  <a:pt x="54" y="13"/>
                  <a:pt x="52" y="13"/>
                </a:cubicBezTo>
                <a:cubicBezTo>
                  <a:pt x="50" y="13"/>
                  <a:pt x="48" y="15"/>
                  <a:pt x="48" y="17"/>
                </a:cubicBezTo>
                <a:cubicBezTo>
                  <a:pt x="48" y="53"/>
                  <a:pt x="48" y="53"/>
                  <a:pt x="48" y="53"/>
                </a:cubicBezTo>
                <a:cubicBezTo>
                  <a:pt x="48" y="53"/>
                  <a:pt x="48" y="53"/>
                  <a:pt x="48" y="53"/>
                </a:cubicBezTo>
                <a:cubicBezTo>
                  <a:pt x="48" y="55"/>
                  <a:pt x="50" y="57"/>
                  <a:pt x="52" y="57"/>
                </a:cubicBezTo>
                <a:cubicBezTo>
                  <a:pt x="75" y="57"/>
                  <a:pt x="75" y="57"/>
                  <a:pt x="75" y="57"/>
                </a:cubicBezTo>
                <a:cubicBezTo>
                  <a:pt x="77" y="57"/>
                  <a:pt x="79" y="55"/>
                  <a:pt x="79" y="53"/>
                </a:cubicBezTo>
                <a:cubicBezTo>
                  <a:pt x="79" y="51"/>
                  <a:pt x="77" y="49"/>
                  <a:pt x="75" y="49"/>
                </a:cubicBezTo>
                <a:close/>
                <a:moveTo>
                  <a:pt x="84" y="22"/>
                </a:moveTo>
                <a:cubicBezTo>
                  <a:pt x="84" y="22"/>
                  <a:pt x="84" y="22"/>
                  <a:pt x="84" y="22"/>
                </a:cubicBezTo>
                <a:cubicBezTo>
                  <a:pt x="76" y="13"/>
                  <a:pt x="64" y="8"/>
                  <a:pt x="52" y="8"/>
                </a:cubicBezTo>
                <a:cubicBezTo>
                  <a:pt x="40" y="8"/>
                  <a:pt x="29" y="13"/>
                  <a:pt x="21" y="21"/>
                </a:cubicBezTo>
                <a:cubicBezTo>
                  <a:pt x="21" y="22"/>
                  <a:pt x="21" y="22"/>
                  <a:pt x="21" y="22"/>
                </a:cubicBezTo>
                <a:cubicBezTo>
                  <a:pt x="13" y="30"/>
                  <a:pt x="8" y="41"/>
                  <a:pt x="8" y="53"/>
                </a:cubicBezTo>
                <a:cubicBezTo>
                  <a:pt x="8" y="65"/>
                  <a:pt x="13" y="76"/>
                  <a:pt x="21" y="84"/>
                </a:cubicBezTo>
                <a:cubicBezTo>
                  <a:pt x="29" y="93"/>
                  <a:pt x="40" y="98"/>
                  <a:pt x="52" y="98"/>
                </a:cubicBezTo>
                <a:cubicBezTo>
                  <a:pt x="64" y="98"/>
                  <a:pt x="75" y="93"/>
                  <a:pt x="83" y="85"/>
                </a:cubicBezTo>
                <a:cubicBezTo>
                  <a:pt x="84" y="84"/>
                  <a:pt x="84" y="84"/>
                  <a:pt x="84" y="84"/>
                </a:cubicBezTo>
                <a:cubicBezTo>
                  <a:pt x="92" y="76"/>
                  <a:pt x="97" y="65"/>
                  <a:pt x="97" y="53"/>
                </a:cubicBezTo>
                <a:cubicBezTo>
                  <a:pt x="97" y="41"/>
                  <a:pt x="92" y="30"/>
                  <a:pt x="84" y="22"/>
                </a:cubicBezTo>
                <a:cubicBezTo>
                  <a:pt x="84" y="22"/>
                  <a:pt x="84" y="22"/>
                  <a:pt x="84" y="22"/>
                </a:cubicBezTo>
                <a:close/>
              </a:path>
            </a:pathLst>
          </a:custGeom>
          <a:solidFill>
            <a:srgbClr val="FFFFFF"/>
          </a:solidFill>
          <a:ln w="6350">
            <a:noFill/>
          </a:ln>
        </p:spPr>
        <p:txBody>
          <a:bodyPr vert="horz" wrap="square" lIns="91434" tIns="45717" rIns="91434" bIns="45717" numCol="1" anchor="t" anchorCtr="0" compatLnSpc="1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9468" name="Freeform 12"/>
          <p:cNvSpPr/>
          <p:nvPr>
            <p:custDataLst>
              <p:tags r:id="rId3"/>
            </p:custDataLst>
          </p:nvPr>
        </p:nvSpPr>
        <p:spPr bwMode="auto">
          <a:xfrm rot="1800000">
            <a:off x="3655731" y="2567131"/>
            <a:ext cx="1228767" cy="1416461"/>
          </a:xfrm>
          <a:custGeom>
            <a:avLst/>
            <a:gdLst>
              <a:gd name="T0" fmla="*/ 319 w 637"/>
              <a:gd name="T1" fmla="*/ 0 h 734"/>
              <a:gd name="T2" fmla="*/ 0 w 637"/>
              <a:gd name="T3" fmla="*/ 182 h 734"/>
              <a:gd name="T4" fmla="*/ 0 w 637"/>
              <a:gd name="T5" fmla="*/ 551 h 734"/>
              <a:gd name="T6" fmla="*/ 319 w 637"/>
              <a:gd name="T7" fmla="*/ 734 h 734"/>
              <a:gd name="T8" fmla="*/ 637 w 637"/>
              <a:gd name="T9" fmla="*/ 551 h 734"/>
              <a:gd name="T10" fmla="*/ 637 w 637"/>
              <a:gd name="T11" fmla="*/ 182 h 734"/>
              <a:gd name="T12" fmla="*/ 319 w 637"/>
              <a:gd name="T13" fmla="*/ 0 h 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7" h="734">
                <a:moveTo>
                  <a:pt x="319" y="0"/>
                </a:moveTo>
                <a:lnTo>
                  <a:pt x="0" y="182"/>
                </a:lnTo>
                <a:lnTo>
                  <a:pt x="0" y="551"/>
                </a:lnTo>
                <a:lnTo>
                  <a:pt x="319" y="734"/>
                </a:lnTo>
                <a:lnTo>
                  <a:pt x="637" y="551"/>
                </a:lnTo>
                <a:lnTo>
                  <a:pt x="637" y="182"/>
                </a:lnTo>
                <a:lnTo>
                  <a:pt x="319" y="0"/>
                </a:lnTo>
                <a:close/>
              </a:path>
            </a:pathLst>
          </a:custGeom>
          <a:solidFill>
            <a:srgbClr val="009ECA"/>
          </a:solidFill>
          <a:ln w="6350">
            <a:noFill/>
          </a:ln>
        </p:spPr>
        <p:txBody>
          <a:bodyPr lIns="91434" tIns="45717" rIns="91434" bIns="45717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9483" name="Freeform 27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4100479" y="3066019"/>
            <a:ext cx="335644" cy="428412"/>
          </a:xfrm>
          <a:custGeom>
            <a:avLst/>
            <a:gdLst>
              <a:gd name="T0" fmla="*/ 59 w 83"/>
              <a:gd name="T1" fmla="*/ 70 h 106"/>
              <a:gd name="T2" fmla="*/ 59 w 83"/>
              <a:gd name="T3" fmla="*/ 70 h 106"/>
              <a:gd name="T4" fmla="*/ 75 w 83"/>
              <a:gd name="T5" fmla="*/ 42 h 106"/>
              <a:gd name="T6" fmla="*/ 41 w 83"/>
              <a:gd name="T7" fmla="*/ 8 h 106"/>
              <a:gd name="T8" fmla="*/ 8 w 83"/>
              <a:gd name="T9" fmla="*/ 42 h 106"/>
              <a:gd name="T10" fmla="*/ 24 w 83"/>
              <a:gd name="T11" fmla="*/ 70 h 106"/>
              <a:gd name="T12" fmla="*/ 24 w 83"/>
              <a:gd name="T13" fmla="*/ 70 h 106"/>
              <a:gd name="T14" fmla="*/ 41 w 83"/>
              <a:gd name="T15" fmla="*/ 75 h 106"/>
              <a:gd name="T16" fmla="*/ 43 w 83"/>
              <a:gd name="T17" fmla="*/ 46 h 106"/>
              <a:gd name="T18" fmla="*/ 40 w 83"/>
              <a:gd name="T19" fmla="*/ 46 h 106"/>
              <a:gd name="T20" fmla="*/ 30 w 83"/>
              <a:gd name="T21" fmla="*/ 42 h 106"/>
              <a:gd name="T22" fmla="*/ 20 w 83"/>
              <a:gd name="T23" fmla="*/ 46 h 106"/>
              <a:gd name="T24" fmla="*/ 17 w 83"/>
              <a:gd name="T25" fmla="*/ 42 h 106"/>
              <a:gd name="T26" fmla="*/ 30 w 83"/>
              <a:gd name="T27" fmla="*/ 37 h 106"/>
              <a:gd name="T28" fmla="*/ 41 w 83"/>
              <a:gd name="T29" fmla="*/ 41 h 106"/>
              <a:gd name="T30" fmla="*/ 52 w 83"/>
              <a:gd name="T31" fmla="*/ 37 h 106"/>
              <a:gd name="T32" fmla="*/ 65 w 83"/>
              <a:gd name="T33" fmla="*/ 42 h 106"/>
              <a:gd name="T34" fmla="*/ 62 w 83"/>
              <a:gd name="T35" fmla="*/ 46 h 106"/>
              <a:gd name="T36" fmla="*/ 52 w 83"/>
              <a:gd name="T37" fmla="*/ 42 h 106"/>
              <a:gd name="T38" fmla="*/ 43 w 83"/>
              <a:gd name="T39" fmla="*/ 46 h 106"/>
              <a:gd name="T40" fmla="*/ 65 w 83"/>
              <a:gd name="T41" fmla="*/ 76 h 106"/>
              <a:gd name="T42" fmla="*/ 61 w 83"/>
              <a:gd name="T43" fmla="*/ 97 h 106"/>
              <a:gd name="T44" fmla="*/ 53 w 83"/>
              <a:gd name="T45" fmla="*/ 97 h 106"/>
              <a:gd name="T46" fmla="*/ 41 w 83"/>
              <a:gd name="T47" fmla="*/ 106 h 106"/>
              <a:gd name="T48" fmla="*/ 29 w 83"/>
              <a:gd name="T49" fmla="*/ 97 h 106"/>
              <a:gd name="T50" fmla="*/ 18 w 83"/>
              <a:gd name="T51" fmla="*/ 93 h 106"/>
              <a:gd name="T52" fmla="*/ 18 w 83"/>
              <a:gd name="T53" fmla="*/ 76 h 106"/>
              <a:gd name="T54" fmla="*/ 0 w 83"/>
              <a:gd name="T55" fmla="*/ 42 h 106"/>
              <a:gd name="T56" fmla="*/ 41 w 83"/>
              <a:gd name="T57" fmla="*/ 0 h 106"/>
              <a:gd name="T58" fmla="*/ 83 w 83"/>
              <a:gd name="T59" fmla="*/ 42 h 106"/>
              <a:gd name="T60" fmla="*/ 65 w 83"/>
              <a:gd name="T61" fmla="*/ 76 h 106"/>
              <a:gd name="T62" fmla="*/ 26 w 83"/>
              <a:gd name="T63" fmla="*/ 80 h 106"/>
              <a:gd name="T64" fmla="*/ 32 w 83"/>
              <a:gd name="T65" fmla="*/ 89 h 106"/>
              <a:gd name="T66" fmla="*/ 37 w 83"/>
              <a:gd name="T67" fmla="*/ 93 h 106"/>
              <a:gd name="T68" fmla="*/ 38 w 83"/>
              <a:gd name="T69" fmla="*/ 96 h 106"/>
              <a:gd name="T70" fmla="*/ 41 w 83"/>
              <a:gd name="T71" fmla="*/ 98 h 106"/>
              <a:gd name="T72" fmla="*/ 45 w 83"/>
              <a:gd name="T73" fmla="*/ 96 h 106"/>
              <a:gd name="T74" fmla="*/ 46 w 83"/>
              <a:gd name="T75" fmla="*/ 93 h 106"/>
              <a:gd name="T76" fmla="*/ 57 w 83"/>
              <a:gd name="T77" fmla="*/ 89 h 106"/>
              <a:gd name="T78" fmla="*/ 41 w 83"/>
              <a:gd name="T79" fmla="*/ 83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3" h="106">
                <a:moveTo>
                  <a:pt x="59" y="70"/>
                </a:moveTo>
                <a:cubicBezTo>
                  <a:pt x="59" y="70"/>
                  <a:pt x="59" y="70"/>
                  <a:pt x="59" y="70"/>
                </a:cubicBezTo>
                <a:cubicBezTo>
                  <a:pt x="59" y="70"/>
                  <a:pt x="59" y="70"/>
                  <a:pt x="59" y="70"/>
                </a:cubicBezTo>
                <a:cubicBezTo>
                  <a:pt x="59" y="70"/>
                  <a:pt x="59" y="70"/>
                  <a:pt x="59" y="70"/>
                </a:cubicBezTo>
                <a:cubicBezTo>
                  <a:pt x="61" y="69"/>
                  <a:pt x="63" y="67"/>
                  <a:pt x="65" y="66"/>
                </a:cubicBezTo>
                <a:cubicBezTo>
                  <a:pt x="71" y="59"/>
                  <a:pt x="75" y="51"/>
                  <a:pt x="75" y="42"/>
                </a:cubicBezTo>
                <a:cubicBezTo>
                  <a:pt x="75" y="33"/>
                  <a:pt x="71" y="24"/>
                  <a:pt x="65" y="18"/>
                </a:cubicBezTo>
                <a:cubicBezTo>
                  <a:pt x="59" y="12"/>
                  <a:pt x="50" y="8"/>
                  <a:pt x="41" y="8"/>
                </a:cubicBezTo>
                <a:cubicBezTo>
                  <a:pt x="32" y="8"/>
                  <a:pt x="24" y="12"/>
                  <a:pt x="18" y="18"/>
                </a:cubicBezTo>
                <a:cubicBezTo>
                  <a:pt x="12" y="24"/>
                  <a:pt x="8" y="33"/>
                  <a:pt x="8" y="42"/>
                </a:cubicBezTo>
                <a:cubicBezTo>
                  <a:pt x="8" y="51"/>
                  <a:pt x="12" y="59"/>
                  <a:pt x="18" y="66"/>
                </a:cubicBezTo>
                <a:cubicBezTo>
                  <a:pt x="19" y="67"/>
                  <a:pt x="22" y="69"/>
                  <a:pt x="24" y="70"/>
                </a:cubicBezTo>
                <a:cubicBezTo>
                  <a:pt x="24" y="70"/>
                  <a:pt x="24" y="70"/>
                  <a:pt x="24" y="70"/>
                </a:cubicBezTo>
                <a:cubicBezTo>
                  <a:pt x="24" y="70"/>
                  <a:pt x="24" y="70"/>
                  <a:pt x="24" y="70"/>
                </a:cubicBezTo>
                <a:cubicBezTo>
                  <a:pt x="24" y="70"/>
                  <a:pt x="24" y="70"/>
                  <a:pt x="24" y="70"/>
                </a:cubicBezTo>
                <a:cubicBezTo>
                  <a:pt x="29" y="73"/>
                  <a:pt x="35" y="75"/>
                  <a:pt x="41" y="75"/>
                </a:cubicBezTo>
                <a:cubicBezTo>
                  <a:pt x="48" y="75"/>
                  <a:pt x="53" y="73"/>
                  <a:pt x="59" y="70"/>
                </a:cubicBezTo>
                <a:close/>
                <a:moveTo>
                  <a:pt x="43" y="46"/>
                </a:moveTo>
                <a:cubicBezTo>
                  <a:pt x="43" y="46"/>
                  <a:pt x="43" y="46"/>
                  <a:pt x="43" y="46"/>
                </a:cubicBezTo>
                <a:cubicBezTo>
                  <a:pt x="42" y="47"/>
                  <a:pt x="40" y="47"/>
                  <a:pt x="40" y="46"/>
                </a:cubicBezTo>
                <a:cubicBezTo>
                  <a:pt x="38" y="45"/>
                  <a:pt x="37" y="44"/>
                  <a:pt x="35" y="43"/>
                </a:cubicBezTo>
                <a:cubicBezTo>
                  <a:pt x="34" y="42"/>
                  <a:pt x="32" y="42"/>
                  <a:pt x="30" y="42"/>
                </a:cubicBezTo>
                <a:cubicBezTo>
                  <a:pt x="28" y="42"/>
                  <a:pt x="26" y="42"/>
                  <a:pt x="25" y="43"/>
                </a:cubicBezTo>
                <a:cubicBezTo>
                  <a:pt x="23" y="44"/>
                  <a:pt x="22" y="45"/>
                  <a:pt x="20" y="46"/>
                </a:cubicBezTo>
                <a:cubicBezTo>
                  <a:pt x="19" y="47"/>
                  <a:pt x="18" y="47"/>
                  <a:pt x="17" y="46"/>
                </a:cubicBezTo>
                <a:cubicBezTo>
                  <a:pt x="16" y="45"/>
                  <a:pt x="16" y="43"/>
                  <a:pt x="17" y="42"/>
                </a:cubicBezTo>
                <a:cubicBezTo>
                  <a:pt x="19" y="41"/>
                  <a:pt x="21" y="39"/>
                  <a:pt x="23" y="39"/>
                </a:cubicBezTo>
                <a:cubicBezTo>
                  <a:pt x="25" y="38"/>
                  <a:pt x="28" y="37"/>
                  <a:pt x="30" y="37"/>
                </a:cubicBezTo>
                <a:cubicBezTo>
                  <a:pt x="32" y="37"/>
                  <a:pt x="35" y="38"/>
                  <a:pt x="37" y="39"/>
                </a:cubicBezTo>
                <a:cubicBezTo>
                  <a:pt x="39" y="39"/>
                  <a:pt x="40" y="40"/>
                  <a:pt x="41" y="41"/>
                </a:cubicBezTo>
                <a:cubicBezTo>
                  <a:pt x="43" y="40"/>
                  <a:pt x="44" y="39"/>
                  <a:pt x="45" y="39"/>
                </a:cubicBezTo>
                <a:cubicBezTo>
                  <a:pt x="48" y="38"/>
                  <a:pt x="50" y="37"/>
                  <a:pt x="52" y="37"/>
                </a:cubicBezTo>
                <a:cubicBezTo>
                  <a:pt x="55" y="37"/>
                  <a:pt x="57" y="38"/>
                  <a:pt x="59" y="39"/>
                </a:cubicBezTo>
                <a:cubicBezTo>
                  <a:pt x="62" y="39"/>
                  <a:pt x="64" y="41"/>
                  <a:pt x="65" y="42"/>
                </a:cubicBezTo>
                <a:cubicBezTo>
                  <a:pt x="66" y="43"/>
                  <a:pt x="66" y="45"/>
                  <a:pt x="65" y="46"/>
                </a:cubicBezTo>
                <a:cubicBezTo>
                  <a:pt x="65" y="47"/>
                  <a:pt x="63" y="47"/>
                  <a:pt x="62" y="46"/>
                </a:cubicBezTo>
                <a:cubicBezTo>
                  <a:pt x="61" y="45"/>
                  <a:pt x="59" y="44"/>
                  <a:pt x="58" y="43"/>
                </a:cubicBezTo>
                <a:cubicBezTo>
                  <a:pt x="56" y="42"/>
                  <a:pt x="54" y="42"/>
                  <a:pt x="52" y="42"/>
                </a:cubicBezTo>
                <a:cubicBezTo>
                  <a:pt x="51" y="42"/>
                  <a:pt x="49" y="42"/>
                  <a:pt x="47" y="43"/>
                </a:cubicBezTo>
                <a:cubicBezTo>
                  <a:pt x="46" y="44"/>
                  <a:pt x="44" y="45"/>
                  <a:pt x="43" y="46"/>
                </a:cubicBezTo>
                <a:close/>
                <a:moveTo>
                  <a:pt x="65" y="76"/>
                </a:moveTo>
                <a:cubicBezTo>
                  <a:pt x="65" y="76"/>
                  <a:pt x="65" y="76"/>
                  <a:pt x="65" y="76"/>
                </a:cubicBezTo>
                <a:cubicBezTo>
                  <a:pt x="65" y="93"/>
                  <a:pt x="65" y="93"/>
                  <a:pt x="65" y="93"/>
                </a:cubicBezTo>
                <a:cubicBezTo>
                  <a:pt x="65" y="95"/>
                  <a:pt x="63" y="97"/>
                  <a:pt x="61" y="97"/>
                </a:cubicBezTo>
                <a:cubicBezTo>
                  <a:pt x="61" y="97"/>
                  <a:pt x="61" y="97"/>
                  <a:pt x="61" y="97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9"/>
                  <a:pt x="52" y="100"/>
                  <a:pt x="50" y="102"/>
                </a:cubicBezTo>
                <a:cubicBezTo>
                  <a:pt x="48" y="104"/>
                  <a:pt x="45" y="106"/>
                  <a:pt x="41" y="106"/>
                </a:cubicBezTo>
                <a:cubicBezTo>
                  <a:pt x="38" y="106"/>
                  <a:pt x="35" y="104"/>
                  <a:pt x="32" y="102"/>
                </a:cubicBezTo>
                <a:cubicBezTo>
                  <a:pt x="31" y="100"/>
                  <a:pt x="30" y="99"/>
                  <a:pt x="29" y="97"/>
                </a:cubicBezTo>
                <a:cubicBezTo>
                  <a:pt x="22" y="97"/>
                  <a:pt x="22" y="97"/>
                  <a:pt x="22" y="97"/>
                </a:cubicBezTo>
                <a:cubicBezTo>
                  <a:pt x="20" y="97"/>
                  <a:pt x="18" y="95"/>
                  <a:pt x="18" y="93"/>
                </a:cubicBezTo>
                <a:cubicBezTo>
                  <a:pt x="18" y="93"/>
                  <a:pt x="18" y="93"/>
                  <a:pt x="18" y="93"/>
                </a:cubicBezTo>
                <a:cubicBezTo>
                  <a:pt x="18" y="76"/>
                  <a:pt x="18" y="76"/>
                  <a:pt x="18" y="76"/>
                </a:cubicBezTo>
                <a:cubicBezTo>
                  <a:pt x="16" y="75"/>
                  <a:pt x="14" y="73"/>
                  <a:pt x="12" y="71"/>
                </a:cubicBezTo>
                <a:cubicBezTo>
                  <a:pt x="4" y="64"/>
                  <a:pt x="0" y="53"/>
                  <a:pt x="0" y="42"/>
                </a:cubicBezTo>
                <a:cubicBezTo>
                  <a:pt x="0" y="30"/>
                  <a:pt x="4" y="20"/>
                  <a:pt x="12" y="13"/>
                </a:cubicBezTo>
                <a:cubicBezTo>
                  <a:pt x="19" y="5"/>
                  <a:pt x="30" y="0"/>
                  <a:pt x="41" y="0"/>
                </a:cubicBezTo>
                <a:cubicBezTo>
                  <a:pt x="53" y="0"/>
                  <a:pt x="63" y="5"/>
                  <a:pt x="71" y="13"/>
                </a:cubicBezTo>
                <a:cubicBezTo>
                  <a:pt x="78" y="20"/>
                  <a:pt x="83" y="30"/>
                  <a:pt x="83" y="42"/>
                </a:cubicBezTo>
                <a:cubicBezTo>
                  <a:pt x="83" y="53"/>
                  <a:pt x="78" y="64"/>
                  <a:pt x="71" y="71"/>
                </a:cubicBezTo>
                <a:cubicBezTo>
                  <a:pt x="69" y="73"/>
                  <a:pt x="67" y="75"/>
                  <a:pt x="65" y="76"/>
                </a:cubicBezTo>
                <a:close/>
                <a:moveTo>
                  <a:pt x="26" y="80"/>
                </a:moveTo>
                <a:cubicBezTo>
                  <a:pt x="26" y="80"/>
                  <a:pt x="26" y="80"/>
                  <a:pt x="26" y="80"/>
                </a:cubicBezTo>
                <a:cubicBezTo>
                  <a:pt x="26" y="89"/>
                  <a:pt x="26" y="89"/>
                  <a:pt x="26" y="89"/>
                </a:cubicBezTo>
                <a:cubicBezTo>
                  <a:pt x="32" y="89"/>
                  <a:pt x="32" y="89"/>
                  <a:pt x="32" y="89"/>
                </a:cubicBezTo>
                <a:cubicBezTo>
                  <a:pt x="32" y="89"/>
                  <a:pt x="32" y="89"/>
                  <a:pt x="32" y="89"/>
                </a:cubicBezTo>
                <a:cubicBezTo>
                  <a:pt x="35" y="89"/>
                  <a:pt x="37" y="90"/>
                  <a:pt x="37" y="93"/>
                </a:cubicBezTo>
                <a:cubicBezTo>
                  <a:pt x="37" y="93"/>
                  <a:pt x="37" y="93"/>
                  <a:pt x="37" y="93"/>
                </a:cubicBezTo>
                <a:cubicBezTo>
                  <a:pt x="37" y="94"/>
                  <a:pt x="37" y="95"/>
                  <a:pt x="38" y="96"/>
                </a:cubicBezTo>
                <a:cubicBezTo>
                  <a:pt x="38" y="96"/>
                  <a:pt x="38" y="96"/>
                  <a:pt x="38" y="96"/>
                </a:cubicBezTo>
                <a:cubicBezTo>
                  <a:pt x="39" y="97"/>
                  <a:pt x="40" y="98"/>
                  <a:pt x="41" y="98"/>
                </a:cubicBezTo>
                <a:cubicBezTo>
                  <a:pt x="43" y="98"/>
                  <a:pt x="44" y="97"/>
                  <a:pt x="45" y="96"/>
                </a:cubicBezTo>
                <a:cubicBezTo>
                  <a:pt x="45" y="96"/>
                  <a:pt x="45" y="96"/>
                  <a:pt x="45" y="96"/>
                </a:cubicBezTo>
                <a:cubicBezTo>
                  <a:pt x="45" y="95"/>
                  <a:pt x="46" y="94"/>
                  <a:pt x="46" y="93"/>
                </a:cubicBezTo>
                <a:cubicBezTo>
                  <a:pt x="46" y="93"/>
                  <a:pt x="46" y="93"/>
                  <a:pt x="46" y="93"/>
                </a:cubicBezTo>
                <a:cubicBezTo>
                  <a:pt x="46" y="90"/>
                  <a:pt x="48" y="89"/>
                  <a:pt x="50" y="89"/>
                </a:cubicBezTo>
                <a:cubicBezTo>
                  <a:pt x="57" y="89"/>
                  <a:pt x="57" y="89"/>
                  <a:pt x="57" y="89"/>
                </a:cubicBezTo>
                <a:cubicBezTo>
                  <a:pt x="57" y="80"/>
                  <a:pt x="57" y="80"/>
                  <a:pt x="57" y="80"/>
                </a:cubicBezTo>
                <a:cubicBezTo>
                  <a:pt x="52" y="82"/>
                  <a:pt x="47" y="83"/>
                  <a:pt x="41" y="83"/>
                </a:cubicBezTo>
                <a:cubicBezTo>
                  <a:pt x="36" y="83"/>
                  <a:pt x="31" y="82"/>
                  <a:pt x="26" y="80"/>
                </a:cubicBezTo>
                <a:close/>
              </a:path>
            </a:pathLst>
          </a:custGeom>
          <a:solidFill>
            <a:srgbClr val="FFFFFF"/>
          </a:solidFill>
          <a:ln w="6350">
            <a:noFill/>
          </a:ln>
        </p:spPr>
        <p:txBody>
          <a:bodyPr vert="horz" wrap="square" lIns="91434" tIns="45717" rIns="91434" bIns="45717" numCol="1" anchor="t" anchorCtr="0" compatLnSpc="1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9464" name="Freeform 8"/>
          <p:cNvSpPr/>
          <p:nvPr>
            <p:custDataLst>
              <p:tags r:id="rId5"/>
            </p:custDataLst>
          </p:nvPr>
        </p:nvSpPr>
        <p:spPr bwMode="auto">
          <a:xfrm rot="1800000">
            <a:off x="4372153" y="1326915"/>
            <a:ext cx="1230695" cy="1416461"/>
          </a:xfrm>
          <a:custGeom>
            <a:avLst/>
            <a:gdLst>
              <a:gd name="T0" fmla="*/ 638 w 638"/>
              <a:gd name="T1" fmla="*/ 551 h 734"/>
              <a:gd name="T2" fmla="*/ 638 w 638"/>
              <a:gd name="T3" fmla="*/ 182 h 734"/>
              <a:gd name="T4" fmla="*/ 319 w 638"/>
              <a:gd name="T5" fmla="*/ 0 h 734"/>
              <a:gd name="T6" fmla="*/ 0 w 638"/>
              <a:gd name="T7" fmla="*/ 182 h 734"/>
              <a:gd name="T8" fmla="*/ 0 w 638"/>
              <a:gd name="T9" fmla="*/ 551 h 734"/>
              <a:gd name="T10" fmla="*/ 319 w 638"/>
              <a:gd name="T11" fmla="*/ 734 h 734"/>
              <a:gd name="T12" fmla="*/ 638 w 638"/>
              <a:gd name="T13" fmla="*/ 551 h 7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8" h="734">
                <a:moveTo>
                  <a:pt x="638" y="551"/>
                </a:moveTo>
                <a:lnTo>
                  <a:pt x="638" y="182"/>
                </a:lnTo>
                <a:lnTo>
                  <a:pt x="319" y="0"/>
                </a:lnTo>
                <a:lnTo>
                  <a:pt x="0" y="182"/>
                </a:lnTo>
                <a:lnTo>
                  <a:pt x="0" y="551"/>
                </a:lnTo>
                <a:lnTo>
                  <a:pt x="319" y="734"/>
                </a:lnTo>
                <a:lnTo>
                  <a:pt x="638" y="551"/>
                </a:lnTo>
                <a:close/>
              </a:path>
            </a:pathLst>
          </a:custGeom>
          <a:solidFill>
            <a:srgbClr val="0088D5"/>
          </a:solidFill>
          <a:ln w="6350">
            <a:noFill/>
          </a:ln>
        </p:spPr>
        <p:txBody>
          <a:bodyPr lIns="91434" tIns="45717" rIns="91434" bIns="45717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9485" name="Freeform 29"/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4827125" y="1836856"/>
            <a:ext cx="349148" cy="412973"/>
          </a:xfrm>
          <a:custGeom>
            <a:avLst/>
            <a:gdLst>
              <a:gd name="T0" fmla="*/ 76 w 86"/>
              <a:gd name="T1" fmla="*/ 1 h 102"/>
              <a:gd name="T2" fmla="*/ 74 w 86"/>
              <a:gd name="T3" fmla="*/ 7 h 102"/>
              <a:gd name="T4" fmla="*/ 86 w 86"/>
              <a:gd name="T5" fmla="*/ 39 h 102"/>
              <a:gd name="T6" fmla="*/ 72 w 86"/>
              <a:gd name="T7" fmla="*/ 72 h 102"/>
              <a:gd name="T8" fmla="*/ 56 w 86"/>
              <a:gd name="T9" fmla="*/ 83 h 102"/>
              <a:gd name="T10" fmla="*/ 42 w 86"/>
              <a:gd name="T11" fmla="*/ 87 h 102"/>
              <a:gd name="T12" fmla="*/ 58 w 86"/>
              <a:gd name="T13" fmla="*/ 94 h 102"/>
              <a:gd name="T14" fmla="*/ 58 w 86"/>
              <a:gd name="T15" fmla="*/ 102 h 102"/>
              <a:gd name="T16" fmla="*/ 38 w 86"/>
              <a:gd name="T17" fmla="*/ 102 h 102"/>
              <a:gd name="T18" fmla="*/ 19 w 86"/>
              <a:gd name="T19" fmla="*/ 102 h 102"/>
              <a:gd name="T20" fmla="*/ 19 w 86"/>
              <a:gd name="T21" fmla="*/ 94 h 102"/>
              <a:gd name="T22" fmla="*/ 34 w 86"/>
              <a:gd name="T23" fmla="*/ 87 h 102"/>
              <a:gd name="T24" fmla="*/ 20 w 86"/>
              <a:gd name="T25" fmla="*/ 82 h 102"/>
              <a:gd name="T26" fmla="*/ 7 w 86"/>
              <a:gd name="T27" fmla="*/ 74 h 102"/>
              <a:gd name="T28" fmla="*/ 1 w 86"/>
              <a:gd name="T29" fmla="*/ 76 h 102"/>
              <a:gd name="T30" fmla="*/ 9 w 86"/>
              <a:gd name="T31" fmla="*/ 64 h 102"/>
              <a:gd name="T32" fmla="*/ 11 w 86"/>
              <a:gd name="T33" fmla="*/ 11 h 102"/>
              <a:gd name="T34" fmla="*/ 38 w 86"/>
              <a:gd name="T35" fmla="*/ 0 h 102"/>
              <a:gd name="T36" fmla="*/ 69 w 86"/>
              <a:gd name="T37" fmla="*/ 5 h 102"/>
              <a:gd name="T38" fmla="*/ 69 w 86"/>
              <a:gd name="T39" fmla="*/ 5 h 102"/>
              <a:gd name="T40" fmla="*/ 73 w 86"/>
              <a:gd name="T41" fmla="*/ 1 h 102"/>
              <a:gd name="T42" fmla="*/ 70 w 86"/>
              <a:gd name="T43" fmla="*/ 10 h 102"/>
              <a:gd name="T44" fmla="*/ 77 w 86"/>
              <a:gd name="T45" fmla="*/ 39 h 102"/>
              <a:gd name="T46" fmla="*/ 65 w 86"/>
              <a:gd name="T47" fmla="*/ 66 h 102"/>
              <a:gd name="T48" fmla="*/ 13 w 86"/>
              <a:gd name="T49" fmla="*/ 67 h 102"/>
              <a:gd name="T50" fmla="*/ 22 w 86"/>
              <a:gd name="T51" fmla="*/ 78 h 102"/>
              <a:gd name="T52" fmla="*/ 55 w 86"/>
              <a:gd name="T53" fmla="*/ 78 h 102"/>
              <a:gd name="T54" fmla="*/ 69 w 86"/>
              <a:gd name="T55" fmla="*/ 69 h 102"/>
              <a:gd name="T56" fmla="*/ 69 w 86"/>
              <a:gd name="T57" fmla="*/ 69 h 102"/>
              <a:gd name="T58" fmla="*/ 81 w 86"/>
              <a:gd name="T59" fmla="*/ 39 h 102"/>
              <a:gd name="T60" fmla="*/ 70 w 86"/>
              <a:gd name="T61" fmla="*/ 10 h 102"/>
              <a:gd name="T62" fmla="*/ 60 w 86"/>
              <a:gd name="T63" fmla="*/ 17 h 102"/>
              <a:gd name="T64" fmla="*/ 17 w 86"/>
              <a:gd name="T65" fmla="*/ 17 h 102"/>
              <a:gd name="T66" fmla="*/ 17 w 86"/>
              <a:gd name="T67" fmla="*/ 60 h 102"/>
              <a:gd name="T68" fmla="*/ 60 w 86"/>
              <a:gd name="T69" fmla="*/ 60 h 102"/>
              <a:gd name="T70" fmla="*/ 69 w 86"/>
              <a:gd name="T71" fmla="*/ 39 h 102"/>
              <a:gd name="T72" fmla="*/ 60 w 86"/>
              <a:gd name="T73" fmla="*/ 17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6" h="102">
                <a:moveTo>
                  <a:pt x="73" y="1"/>
                </a:moveTo>
                <a:cubicBezTo>
                  <a:pt x="74" y="0"/>
                  <a:pt x="75" y="0"/>
                  <a:pt x="76" y="1"/>
                </a:cubicBezTo>
                <a:cubicBezTo>
                  <a:pt x="77" y="2"/>
                  <a:pt x="77" y="3"/>
                  <a:pt x="76" y="4"/>
                </a:cubicBezTo>
                <a:cubicBezTo>
                  <a:pt x="74" y="7"/>
                  <a:pt x="74" y="7"/>
                  <a:pt x="74" y="7"/>
                </a:cubicBezTo>
                <a:cubicBezTo>
                  <a:pt x="77" y="11"/>
                  <a:pt x="80" y="15"/>
                  <a:pt x="82" y="20"/>
                </a:cubicBezTo>
                <a:cubicBezTo>
                  <a:pt x="85" y="26"/>
                  <a:pt x="86" y="32"/>
                  <a:pt x="86" y="39"/>
                </a:cubicBezTo>
                <a:cubicBezTo>
                  <a:pt x="86" y="45"/>
                  <a:pt x="85" y="51"/>
                  <a:pt x="82" y="57"/>
                </a:cubicBezTo>
                <a:cubicBezTo>
                  <a:pt x="80" y="63"/>
                  <a:pt x="76" y="68"/>
                  <a:pt x="72" y="72"/>
                </a:cubicBezTo>
                <a:cubicBezTo>
                  <a:pt x="68" y="77"/>
                  <a:pt x="62" y="80"/>
                  <a:pt x="57" y="82"/>
                </a:cubicBezTo>
                <a:cubicBezTo>
                  <a:pt x="56" y="83"/>
                  <a:pt x="56" y="83"/>
                  <a:pt x="56" y="83"/>
                </a:cubicBezTo>
                <a:cubicBezTo>
                  <a:pt x="52" y="84"/>
                  <a:pt x="47" y="85"/>
                  <a:pt x="42" y="86"/>
                </a:cubicBezTo>
                <a:cubicBezTo>
                  <a:pt x="42" y="86"/>
                  <a:pt x="42" y="86"/>
                  <a:pt x="42" y="87"/>
                </a:cubicBezTo>
                <a:cubicBezTo>
                  <a:pt x="42" y="94"/>
                  <a:pt x="42" y="94"/>
                  <a:pt x="42" y="94"/>
                </a:cubicBezTo>
                <a:cubicBezTo>
                  <a:pt x="58" y="94"/>
                  <a:pt x="58" y="94"/>
                  <a:pt x="58" y="94"/>
                </a:cubicBezTo>
                <a:cubicBezTo>
                  <a:pt x="60" y="94"/>
                  <a:pt x="62" y="96"/>
                  <a:pt x="62" y="98"/>
                </a:cubicBezTo>
                <a:cubicBezTo>
                  <a:pt x="62" y="100"/>
                  <a:pt x="60" y="102"/>
                  <a:pt x="58" y="102"/>
                </a:cubicBezTo>
                <a:cubicBezTo>
                  <a:pt x="38" y="102"/>
                  <a:pt x="38" y="102"/>
                  <a:pt x="38" y="102"/>
                </a:cubicBezTo>
                <a:cubicBezTo>
                  <a:pt x="38" y="102"/>
                  <a:pt x="38" y="102"/>
                  <a:pt x="38" y="102"/>
                </a:cubicBezTo>
                <a:cubicBezTo>
                  <a:pt x="38" y="102"/>
                  <a:pt x="38" y="102"/>
                  <a:pt x="38" y="102"/>
                </a:cubicBezTo>
                <a:cubicBezTo>
                  <a:pt x="19" y="102"/>
                  <a:pt x="19" y="102"/>
                  <a:pt x="19" y="102"/>
                </a:cubicBezTo>
                <a:cubicBezTo>
                  <a:pt x="17" y="102"/>
                  <a:pt x="15" y="100"/>
                  <a:pt x="15" y="98"/>
                </a:cubicBezTo>
                <a:cubicBezTo>
                  <a:pt x="15" y="96"/>
                  <a:pt x="17" y="94"/>
                  <a:pt x="19" y="94"/>
                </a:cubicBezTo>
                <a:cubicBezTo>
                  <a:pt x="34" y="94"/>
                  <a:pt x="34" y="94"/>
                  <a:pt x="34" y="94"/>
                </a:cubicBezTo>
                <a:cubicBezTo>
                  <a:pt x="34" y="87"/>
                  <a:pt x="34" y="87"/>
                  <a:pt x="34" y="87"/>
                </a:cubicBezTo>
                <a:cubicBezTo>
                  <a:pt x="34" y="86"/>
                  <a:pt x="34" y="86"/>
                  <a:pt x="34" y="86"/>
                </a:cubicBezTo>
                <a:cubicBezTo>
                  <a:pt x="29" y="85"/>
                  <a:pt x="25" y="84"/>
                  <a:pt x="20" y="82"/>
                </a:cubicBezTo>
                <a:cubicBezTo>
                  <a:pt x="20" y="82"/>
                  <a:pt x="20" y="82"/>
                  <a:pt x="20" y="82"/>
                </a:cubicBezTo>
                <a:cubicBezTo>
                  <a:pt x="15" y="80"/>
                  <a:pt x="11" y="77"/>
                  <a:pt x="7" y="74"/>
                </a:cubicBezTo>
                <a:cubicBezTo>
                  <a:pt x="4" y="76"/>
                  <a:pt x="4" y="76"/>
                  <a:pt x="4" y="76"/>
                </a:cubicBezTo>
                <a:cubicBezTo>
                  <a:pt x="3" y="77"/>
                  <a:pt x="2" y="77"/>
                  <a:pt x="1" y="76"/>
                </a:cubicBezTo>
                <a:cubicBezTo>
                  <a:pt x="0" y="75"/>
                  <a:pt x="0" y="74"/>
                  <a:pt x="1" y="73"/>
                </a:cubicBezTo>
                <a:cubicBezTo>
                  <a:pt x="9" y="64"/>
                  <a:pt x="9" y="64"/>
                  <a:pt x="9" y="64"/>
                </a:cubicBezTo>
                <a:cubicBezTo>
                  <a:pt x="3" y="57"/>
                  <a:pt x="0" y="48"/>
                  <a:pt x="0" y="39"/>
                </a:cubicBezTo>
                <a:cubicBezTo>
                  <a:pt x="0" y="28"/>
                  <a:pt x="4" y="18"/>
                  <a:pt x="11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18" y="4"/>
                  <a:pt x="28" y="0"/>
                  <a:pt x="38" y="0"/>
                </a:cubicBezTo>
                <a:cubicBezTo>
                  <a:pt x="48" y="0"/>
                  <a:pt x="57" y="4"/>
                  <a:pt x="64" y="10"/>
                </a:cubicBezTo>
                <a:cubicBezTo>
                  <a:pt x="69" y="5"/>
                  <a:pt x="69" y="5"/>
                  <a:pt x="69" y="5"/>
                </a:cubicBezTo>
                <a:cubicBezTo>
                  <a:pt x="69" y="5"/>
                  <a:pt x="69" y="5"/>
                  <a:pt x="69" y="5"/>
                </a:cubicBezTo>
                <a:cubicBezTo>
                  <a:pt x="69" y="5"/>
                  <a:pt x="69" y="5"/>
                  <a:pt x="69" y="5"/>
                </a:cubicBezTo>
                <a:cubicBezTo>
                  <a:pt x="69" y="5"/>
                  <a:pt x="69" y="5"/>
                  <a:pt x="69" y="5"/>
                </a:cubicBezTo>
                <a:cubicBezTo>
                  <a:pt x="73" y="1"/>
                  <a:pt x="73" y="1"/>
                  <a:pt x="73" y="1"/>
                </a:cubicBezTo>
                <a:close/>
                <a:moveTo>
                  <a:pt x="70" y="10"/>
                </a:moveTo>
                <a:cubicBezTo>
                  <a:pt x="70" y="10"/>
                  <a:pt x="70" y="10"/>
                  <a:pt x="70" y="10"/>
                </a:cubicBezTo>
                <a:cubicBezTo>
                  <a:pt x="67" y="13"/>
                  <a:pt x="67" y="13"/>
                  <a:pt x="67" y="13"/>
                </a:cubicBezTo>
                <a:cubicBezTo>
                  <a:pt x="73" y="20"/>
                  <a:pt x="77" y="29"/>
                  <a:pt x="77" y="39"/>
                </a:cubicBezTo>
                <a:cubicBezTo>
                  <a:pt x="77" y="49"/>
                  <a:pt x="73" y="59"/>
                  <a:pt x="66" y="66"/>
                </a:cubicBezTo>
                <a:cubicBezTo>
                  <a:pt x="65" y="66"/>
                  <a:pt x="65" y="66"/>
                  <a:pt x="65" y="66"/>
                </a:cubicBezTo>
                <a:cubicBezTo>
                  <a:pt x="59" y="73"/>
                  <a:pt x="49" y="77"/>
                  <a:pt x="38" y="77"/>
                </a:cubicBezTo>
                <a:cubicBezTo>
                  <a:pt x="29" y="77"/>
                  <a:pt x="20" y="73"/>
                  <a:pt x="13" y="67"/>
                </a:cubicBezTo>
                <a:cubicBezTo>
                  <a:pt x="10" y="70"/>
                  <a:pt x="10" y="70"/>
                  <a:pt x="10" y="70"/>
                </a:cubicBezTo>
                <a:cubicBezTo>
                  <a:pt x="13" y="74"/>
                  <a:pt x="18" y="76"/>
                  <a:pt x="22" y="78"/>
                </a:cubicBezTo>
                <a:cubicBezTo>
                  <a:pt x="27" y="80"/>
                  <a:pt x="33" y="81"/>
                  <a:pt x="38" y="81"/>
                </a:cubicBezTo>
                <a:cubicBezTo>
                  <a:pt x="44" y="81"/>
                  <a:pt x="50" y="80"/>
                  <a:pt x="55" y="78"/>
                </a:cubicBezTo>
                <a:cubicBezTo>
                  <a:pt x="55" y="78"/>
                  <a:pt x="55" y="78"/>
                  <a:pt x="55" y="78"/>
                </a:cubicBezTo>
                <a:cubicBezTo>
                  <a:pt x="60" y="76"/>
                  <a:pt x="65" y="73"/>
                  <a:pt x="69" y="69"/>
                </a:cubicBezTo>
                <a:cubicBezTo>
                  <a:pt x="69" y="69"/>
                  <a:pt x="69" y="69"/>
                  <a:pt x="69" y="69"/>
                </a:cubicBezTo>
                <a:cubicBezTo>
                  <a:pt x="69" y="69"/>
                  <a:pt x="69" y="69"/>
                  <a:pt x="69" y="69"/>
                </a:cubicBezTo>
                <a:cubicBezTo>
                  <a:pt x="73" y="65"/>
                  <a:pt x="76" y="60"/>
                  <a:pt x="78" y="55"/>
                </a:cubicBezTo>
                <a:cubicBezTo>
                  <a:pt x="80" y="50"/>
                  <a:pt x="81" y="44"/>
                  <a:pt x="81" y="39"/>
                </a:cubicBezTo>
                <a:cubicBezTo>
                  <a:pt x="81" y="33"/>
                  <a:pt x="80" y="27"/>
                  <a:pt x="78" y="22"/>
                </a:cubicBezTo>
                <a:cubicBezTo>
                  <a:pt x="76" y="18"/>
                  <a:pt x="73" y="14"/>
                  <a:pt x="70" y="10"/>
                </a:cubicBezTo>
                <a:close/>
                <a:moveTo>
                  <a:pt x="60" y="17"/>
                </a:moveTo>
                <a:cubicBezTo>
                  <a:pt x="60" y="17"/>
                  <a:pt x="60" y="17"/>
                  <a:pt x="60" y="17"/>
                </a:cubicBezTo>
                <a:cubicBezTo>
                  <a:pt x="54" y="11"/>
                  <a:pt x="47" y="8"/>
                  <a:pt x="38" y="8"/>
                </a:cubicBezTo>
                <a:cubicBezTo>
                  <a:pt x="30" y="8"/>
                  <a:pt x="22" y="11"/>
                  <a:pt x="17" y="17"/>
                </a:cubicBezTo>
                <a:cubicBezTo>
                  <a:pt x="11" y="22"/>
                  <a:pt x="8" y="30"/>
                  <a:pt x="8" y="39"/>
                </a:cubicBezTo>
                <a:cubicBezTo>
                  <a:pt x="8" y="47"/>
                  <a:pt x="11" y="55"/>
                  <a:pt x="17" y="60"/>
                </a:cubicBezTo>
                <a:cubicBezTo>
                  <a:pt x="22" y="66"/>
                  <a:pt x="30" y="69"/>
                  <a:pt x="38" y="69"/>
                </a:cubicBezTo>
                <a:cubicBezTo>
                  <a:pt x="47" y="69"/>
                  <a:pt x="54" y="66"/>
                  <a:pt x="60" y="60"/>
                </a:cubicBezTo>
                <a:cubicBezTo>
                  <a:pt x="60" y="60"/>
                  <a:pt x="60" y="60"/>
                  <a:pt x="60" y="60"/>
                </a:cubicBezTo>
                <a:cubicBezTo>
                  <a:pt x="66" y="55"/>
                  <a:pt x="69" y="47"/>
                  <a:pt x="69" y="39"/>
                </a:cubicBezTo>
                <a:cubicBezTo>
                  <a:pt x="69" y="30"/>
                  <a:pt x="66" y="22"/>
                  <a:pt x="60" y="17"/>
                </a:cubicBezTo>
                <a:cubicBezTo>
                  <a:pt x="60" y="17"/>
                  <a:pt x="60" y="17"/>
                  <a:pt x="60" y="17"/>
                </a:cubicBezTo>
                <a:cubicBezTo>
                  <a:pt x="60" y="17"/>
                  <a:pt x="60" y="17"/>
                  <a:pt x="60" y="17"/>
                </a:cubicBezTo>
                <a:close/>
              </a:path>
            </a:pathLst>
          </a:custGeom>
          <a:solidFill>
            <a:srgbClr val="FFFFFF"/>
          </a:solidFill>
          <a:ln w="6350">
            <a:noFill/>
          </a:ln>
        </p:spPr>
        <p:txBody>
          <a:bodyPr vert="horz" wrap="square" lIns="91434" tIns="45717" rIns="91434" bIns="45717" numCol="1" anchor="t" anchorCtr="0" compatLnSpc="1"/>
          <a:lstStyle/>
          <a:p>
            <a:pPr>
              <a:lnSpc>
                <a:spcPct val="120000"/>
              </a:lnSpc>
            </a:pPr>
            <a:endParaRPr lang="zh-CN" altLang="en-US" sz="1270"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8" name="文本框 17"/>
          <p:cNvSpPr txBox="1"/>
          <p:nvPr>
            <p:custDataLst>
              <p:tags r:id="rId7"/>
            </p:custDataLst>
          </p:nvPr>
        </p:nvSpPr>
        <p:spPr>
          <a:xfrm>
            <a:off x="309245" y="1837055"/>
            <a:ext cx="2501900" cy="537210"/>
          </a:xfrm>
          <a:prstGeom prst="rect">
            <a:avLst/>
          </a:prstGeom>
          <a:noFill/>
        </p:spPr>
        <p:txBody>
          <a:bodyPr wrap="square" lIns="67500" tIns="35100" rIns="67500" bIns="35100" rtlCol="0" anchor="ctr">
            <a:noAutofit/>
          </a:bodyPr>
          <a:lstStyle>
            <a:defPPr>
              <a:defRPr lang="zh-CN"/>
            </a:defPPr>
            <a:lvl1pPr algn="r">
              <a:lnSpc>
                <a:spcPct val="120000"/>
              </a:lnSpc>
              <a:defRPr sz="1400" spc="15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微软雅黑" panose="020B0503020204020204" charset="-122"/>
              </a:defRPr>
            </a:lvl1pPr>
          </a:lstStyle>
          <a:p>
            <a:pPr algn="l"/>
            <a:r>
              <a:rPr lang="en-US" altLang="zh-CN">
                <a:sym typeface="Arial" panose="020B0604020202020204" pitchFamily="34" charset="0"/>
              </a:rPr>
              <a:t>   </a:t>
            </a:r>
            <a:r>
              <a:rPr lang="zh-CN" altLang="en-US">
                <a:sym typeface="Arial" panose="020B0604020202020204" pitchFamily="34" charset="0"/>
              </a:rPr>
              <a:t>缺少高层次教师，教师发展专业化还有很大空间。</a:t>
            </a:r>
            <a:endParaRPr lang="zh-CN" altLang="en-US">
              <a:sym typeface="Arial" panose="020B0604020202020204" pitchFamily="34" charset="0"/>
            </a:endParaRPr>
          </a:p>
        </p:txBody>
      </p:sp>
      <p:sp>
        <p:nvSpPr>
          <p:cNvPr id="19" name="文本框 18"/>
          <p:cNvSpPr txBox="1"/>
          <p:nvPr>
            <p:custDataLst>
              <p:tags r:id="rId8"/>
            </p:custDataLst>
          </p:nvPr>
        </p:nvSpPr>
        <p:spPr>
          <a:xfrm>
            <a:off x="1867293" y="1368741"/>
            <a:ext cx="793625" cy="695505"/>
          </a:xfrm>
          <a:prstGeom prst="rect">
            <a:avLst/>
          </a:prstGeom>
          <a:noFill/>
        </p:spPr>
        <p:txBody>
          <a:bodyPr wrap="square" rtlCol="0">
            <a:normAutofit lnSpcReduction="20000"/>
          </a:bodyPr>
          <a:lstStyle/>
          <a:p>
            <a:pPr algn="r">
              <a:lnSpc>
                <a:spcPct val="120000"/>
              </a:lnSpc>
            </a:pPr>
            <a:r>
              <a:rPr lang="en-US" altLang="zh-CN" sz="3000" b="1" spc="150" dirty="0">
                <a:solidFill>
                  <a:srgbClr val="1D6DC2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Arial" panose="020B0604020202020204" pitchFamily="34" charset="0"/>
              </a:rPr>
              <a:t>01</a:t>
            </a:r>
            <a:endParaRPr lang="zh-CN" altLang="en-US" sz="3000" b="1" spc="150" dirty="0">
              <a:solidFill>
                <a:srgbClr val="1D6DC2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>
            <p:custDataLst>
              <p:tags r:id="rId9"/>
            </p:custDataLst>
          </p:nvPr>
        </p:nvSpPr>
        <p:spPr>
          <a:xfrm>
            <a:off x="5879307" y="1372460"/>
            <a:ext cx="793625" cy="695505"/>
          </a:xfrm>
          <a:prstGeom prst="rect">
            <a:avLst/>
          </a:prstGeom>
          <a:noFill/>
        </p:spPr>
        <p:txBody>
          <a:bodyPr wrap="square" rtlCol="0">
            <a:normAutofit lnSpcReduction="20000"/>
          </a:bodyPr>
          <a:lstStyle/>
          <a:p>
            <a:pPr algn="r">
              <a:lnSpc>
                <a:spcPct val="120000"/>
              </a:lnSpc>
            </a:pPr>
            <a:r>
              <a:rPr lang="en-US" altLang="zh-CN" sz="3000" b="1" spc="150" dirty="0">
                <a:solidFill>
                  <a:srgbClr val="0088D5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Arial" panose="020B0604020202020204" pitchFamily="34" charset="0"/>
              </a:rPr>
              <a:t>02</a:t>
            </a:r>
            <a:endParaRPr lang="zh-CN" altLang="en-US" sz="3000" b="1" spc="150" dirty="0">
              <a:solidFill>
                <a:srgbClr val="0088D5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文本框 21"/>
          <p:cNvSpPr txBox="1"/>
          <p:nvPr>
            <p:custDataLst>
              <p:tags r:id="rId10"/>
            </p:custDataLst>
          </p:nvPr>
        </p:nvSpPr>
        <p:spPr>
          <a:xfrm>
            <a:off x="5728813" y="1939158"/>
            <a:ext cx="2992802" cy="537072"/>
          </a:xfrm>
          <a:prstGeom prst="rect">
            <a:avLst/>
          </a:prstGeom>
          <a:noFill/>
        </p:spPr>
        <p:txBody>
          <a:bodyPr wrap="square" lIns="67500" tIns="35100" rIns="67500" bIns="35100" rtlCol="0" anchor="ctr"/>
          <a:lstStyle>
            <a:defPPr>
              <a:defRPr lang="zh-CN"/>
            </a:defPPr>
            <a:lvl1pPr algn="r">
              <a:lnSpc>
                <a:spcPct val="120000"/>
              </a:lnSpc>
              <a:defRPr sz="1400" spc="15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微软雅黑" panose="020B0503020204020204" charset="-122"/>
              </a:defRPr>
            </a:lvl1pPr>
          </a:lstStyle>
          <a:p>
            <a:pPr algn="l"/>
            <a:r>
              <a:rPr lang="zh-CN" altLang="en-US" sz="1400">
                <a:sym typeface="Arial" panose="020B0604020202020204" pitchFamily="34" charset="0"/>
              </a:rPr>
              <a:t>“少年硅谷”课程研究还需深化</a:t>
            </a:r>
            <a:endParaRPr lang="zh-CN" altLang="en-US" sz="1040">
              <a:sym typeface="Arial" panose="020B0604020202020204" pitchFamily="34" charset="0"/>
            </a:endParaRPr>
          </a:p>
        </p:txBody>
      </p:sp>
      <p:sp>
        <p:nvSpPr>
          <p:cNvPr id="23" name="文本框 22"/>
          <p:cNvSpPr txBox="1"/>
          <p:nvPr>
            <p:custDataLst>
              <p:tags r:id="rId11"/>
            </p:custDataLst>
          </p:nvPr>
        </p:nvSpPr>
        <p:spPr>
          <a:xfrm>
            <a:off x="5001895" y="3307715"/>
            <a:ext cx="3418840" cy="537210"/>
          </a:xfrm>
          <a:prstGeom prst="rect">
            <a:avLst/>
          </a:prstGeom>
          <a:noFill/>
        </p:spPr>
        <p:txBody>
          <a:bodyPr wrap="square" lIns="67500" tIns="35100" rIns="67500" bIns="35100" rtlCol="0" anchor="ctr"/>
          <a:lstStyle>
            <a:defPPr>
              <a:defRPr lang="zh-CN"/>
            </a:defPPr>
            <a:lvl1pPr algn="r">
              <a:lnSpc>
                <a:spcPct val="120000"/>
              </a:lnSpc>
              <a:defRPr sz="1400" spc="15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ea typeface="微软雅黑" panose="020B0503020204020204" charset="-122"/>
              </a:defRPr>
            </a:lvl1pPr>
          </a:lstStyle>
          <a:p>
            <a:pPr algn="l"/>
            <a:r>
              <a:rPr lang="en-US" altLang="zh-CN">
                <a:sym typeface="Arial" panose="020B0604020202020204" pitchFamily="34" charset="0"/>
              </a:rPr>
              <a:t>  </a:t>
            </a:r>
            <a:r>
              <a:rPr lang="zh-CN" altLang="en-US">
                <a:sym typeface="Arial" panose="020B0604020202020204" pitchFamily="34" charset="0"/>
              </a:rPr>
              <a:t>课题研究不深入：目前信息组无独立的市区级课题，课题研究力亟待提升。</a:t>
            </a:r>
            <a:endParaRPr lang="zh-CN" altLang="en-US"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>
            <p:custDataLst>
              <p:tags r:id="rId12"/>
            </p:custDataLst>
          </p:nvPr>
        </p:nvSpPr>
        <p:spPr>
          <a:xfrm>
            <a:off x="2759102" y="3197335"/>
            <a:ext cx="793625" cy="695505"/>
          </a:xfrm>
          <a:prstGeom prst="rect">
            <a:avLst/>
          </a:prstGeom>
          <a:noFill/>
        </p:spPr>
        <p:txBody>
          <a:bodyPr wrap="square" rtlCol="0">
            <a:normAutofit lnSpcReduction="20000"/>
          </a:bodyPr>
          <a:lstStyle/>
          <a:p>
            <a:pPr algn="r">
              <a:lnSpc>
                <a:spcPct val="120000"/>
              </a:lnSpc>
            </a:pPr>
            <a:r>
              <a:rPr lang="en-US" altLang="zh-CN" sz="3000" b="1" spc="150" dirty="0">
                <a:solidFill>
                  <a:srgbClr val="009ECA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  <a:sym typeface="Arial" panose="020B0604020202020204" pitchFamily="34" charset="0"/>
              </a:rPr>
              <a:t>03</a:t>
            </a:r>
            <a:endParaRPr lang="zh-CN" altLang="en-US" sz="3000" b="1" spc="150" dirty="0">
              <a:solidFill>
                <a:srgbClr val="009ECA"/>
              </a:solidFill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12025" y="3464560"/>
            <a:ext cx="2065020" cy="2065020"/>
          </a:xfrm>
          <a:prstGeom prst="rect">
            <a:avLst/>
          </a:prstGeom>
        </p:spPr>
      </p:pic>
      <p:pic>
        <p:nvPicPr>
          <p:cNvPr id="5" name="图片 4" descr="logo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5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fill="hold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6"/>
          <p:cNvSpPr txBox="1">
            <a:spLocks noChangeArrowheads="1"/>
          </p:cNvSpPr>
          <p:nvPr/>
        </p:nvSpPr>
        <p:spPr bwMode="auto">
          <a:xfrm>
            <a:off x="2880360" y="137280"/>
            <a:ext cx="33832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</a:rPr>
              <a:t>本学期重点工作</a:t>
            </a:r>
            <a:endParaRPr lang="zh-CN" altLang="en-US" sz="36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</a:endParaRPr>
          </a:p>
        </p:txBody>
      </p:sp>
      <p:sp>
        <p:nvSpPr>
          <p:cNvPr id="16" name="矩形 15" descr="e7d195523061f1c09e9d68d7cf438b91ef959ecb14fc25d26BBA7F7DBC18E55DFF4014AF651F0BF2569D4B6C1DA7F1A4683A481403BD872FC687266AD13265C1DE7C373772FD8728ABDD69ADD03BFF5BE2862BC891DBB79EC884C45A5F465464F4471A44E2E9B6024498CDCB4F20168DAB66C7FAB51F4DF2191988BC51E8947C5543912A7B2AB33F8B6FFDD33C59E19B"/>
          <p:cNvSpPr/>
          <p:nvPr/>
        </p:nvSpPr>
        <p:spPr>
          <a:xfrm>
            <a:off x="4146684" y="3587482"/>
            <a:ext cx="2689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>
                <a:solidFill>
                  <a:schemeClr val="bg1"/>
                </a:solidFill>
                <a:latin typeface="+mj-lt"/>
                <a:ea typeface="+mj-ea"/>
                <a:sym typeface="+mn-lt"/>
              </a:rPr>
              <a:t>市场数据分析</a:t>
            </a:r>
            <a:endParaRPr lang="zh-CN" altLang="en-US" sz="2000">
              <a:solidFill>
                <a:schemeClr val="bg1"/>
              </a:solidFill>
              <a:latin typeface="+mj-lt"/>
              <a:ea typeface="+mj-ea"/>
              <a:sym typeface="+mn-lt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1"/>
            </p:custDataLst>
          </p:nvPr>
        </p:nvGraphicFramePr>
        <p:xfrm>
          <a:off x="1247775" y="967105"/>
          <a:ext cx="6518910" cy="36195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955675"/>
                <a:gridCol w="5563235"/>
              </a:tblGrid>
              <a:tr h="50355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文化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少年硅谷长廊和信息学科教室进一步美化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29565">
                <a:tc rowSpan="3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课程</a:t>
                      </a:r>
                      <a:endParaRPr lang="en-US" altLang="en-US" sz="1600"/>
                    </a:p>
                  </a:txBody>
                  <a:tcPr marL="68580" marR="68580" marT="0" marB="0" vert="horz" anchor="ctr" anchorCtr="0">
                    <a:noFill/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“少年硅谷”课程建设推进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25120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创新优展示课准备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400685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增设并规范科技类课后服务社团课程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65125">
                <a:tc rowSpan="4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 教师 </a:t>
                      </a:r>
                      <a:endParaRPr lang="en-US" sz="1600"/>
                    </a:p>
                    <a:p>
                      <a:pPr indent="0" algn="ctr">
                        <a:buNone/>
                      </a:pPr>
                      <a:r>
                        <a:rPr lang="en-US" altLang="zh-CN" sz="1600"/>
                        <a:t> </a:t>
                      </a:r>
                      <a:endParaRPr lang="en-US" altLang="zh-CN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信息科技新课标学习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43535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人工智能工作坊整体推进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29565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/>
                        <a:t>新北区小学信息科技评优课</a:t>
                      </a:r>
                      <a:endParaRPr lang="zh-CN" altLang="en-US" sz="1600"/>
                    </a:p>
                  </a:txBody>
                  <a:tcPr marL="68580" marR="68580" marT="0" marB="0" vert="horz" anchor="ctr" anchorCtr="0"/>
                </a:tc>
              </a:tr>
              <a:tr h="329565">
                <a:tc vMerge="1"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借名师工作室活动助推专业发展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39090">
                <a:tc rowSpan="2"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学生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常规落实，日常课培养全体学生的信息素养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  <a:tr h="353695">
                <a:tc vMerge="1">
                  <a:tcPr/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/>
                        <a:t>组织参加各级各类科技比赛，精英培养</a:t>
                      </a:r>
                      <a:endParaRPr lang="en-US" altLang="en-US" sz="1600"/>
                    </a:p>
                  </a:txBody>
                  <a:tcPr marL="68580" marR="68580" marT="0" marB="0" vert="horz" anchor="ctr" anchorCtr="0"/>
                </a:tc>
              </a:tr>
            </a:tbl>
          </a:graphicData>
        </a:graphic>
      </p:graphicFrame>
      <p:pic>
        <p:nvPicPr>
          <p:cNvPr id="2" name="图片 1" descr="&amp;pky97175844413&amp;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9330" y="3349625"/>
            <a:ext cx="1804670" cy="1910715"/>
          </a:xfrm>
          <a:prstGeom prst="rect">
            <a:avLst/>
          </a:prstGeom>
        </p:spPr>
      </p:pic>
      <p:pic>
        <p:nvPicPr>
          <p:cNvPr id="5" name="图片 4" descr="log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889808" y="2454787"/>
            <a:ext cx="3364385" cy="112201"/>
          </a:xfrm>
          <a:prstGeom prst="rect">
            <a:avLst/>
          </a:prstGeom>
          <a:solidFill>
            <a:srgbClr val="88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-1402080" y="934720"/>
            <a:ext cx="477520" cy="477520"/>
          </a:xfrm>
          <a:prstGeom prst="ellipse">
            <a:avLst/>
          </a:prstGeom>
          <a:solidFill>
            <a:srgbClr val="C9DE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-1402080" y="1554480"/>
            <a:ext cx="477520" cy="477520"/>
          </a:xfrm>
          <a:prstGeom prst="ellipse">
            <a:avLst/>
          </a:prstGeom>
          <a:solidFill>
            <a:srgbClr val="88B8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/>
          <p:cNvSpPr/>
          <p:nvPr/>
        </p:nvSpPr>
        <p:spPr>
          <a:xfrm>
            <a:off x="-1402080" y="2195922"/>
            <a:ext cx="477520" cy="477520"/>
          </a:xfrm>
          <a:prstGeom prst="ellipse">
            <a:avLst/>
          </a:prstGeom>
          <a:solidFill>
            <a:srgbClr val="5168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椭圆 22"/>
          <p:cNvSpPr/>
          <p:nvPr/>
        </p:nvSpPr>
        <p:spPr>
          <a:xfrm>
            <a:off x="-1402080" y="2787834"/>
            <a:ext cx="477520" cy="477520"/>
          </a:xfrm>
          <a:prstGeom prst="ellipse">
            <a:avLst/>
          </a:prstGeom>
          <a:solidFill>
            <a:srgbClr val="F2E3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 bwMode="auto">
          <a:xfrm>
            <a:off x="3108960" y="1645462"/>
            <a:ext cx="2926080" cy="92202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54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ea"/>
              </a:rPr>
              <a:t>学期目标</a:t>
            </a:r>
            <a:endParaRPr lang="zh-CN" altLang="en-US" sz="5400">
              <a:solidFill>
                <a:srgbClr val="51688A"/>
              </a:solidFill>
              <a:latin typeface="汉仪魏碑简" panose="02010600000101010101" charset="-128"/>
              <a:ea typeface="汉仪魏碑简" panose="02010600000101010101" charset="-128"/>
              <a:sym typeface="+mn-ea"/>
            </a:endParaRPr>
          </a:p>
        </p:txBody>
      </p:sp>
      <p:pic>
        <p:nvPicPr>
          <p:cNvPr id="2" name="图片 1" descr="logo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文本框 6"/>
          <p:cNvSpPr txBox="1">
            <a:spLocks noChangeArrowheads="1"/>
          </p:cNvSpPr>
          <p:nvPr/>
        </p:nvSpPr>
        <p:spPr bwMode="auto">
          <a:xfrm>
            <a:off x="3266440" y="226815"/>
            <a:ext cx="201168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 Light" panose="020F0302020204030204" pitchFamily="34" charset="0"/>
                <a:ea typeface="方正宋刻本秀楷简体" panose="02000000000000000000" pitchFamily="2" charset="-122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3600">
                <a:solidFill>
                  <a:srgbClr val="51688A"/>
                </a:solidFill>
                <a:latin typeface="微软雅黑" panose="020B0503020204020204" charset="-122"/>
                <a:ea typeface="微软雅黑" panose="020B0503020204020204" charset="-122"/>
              </a:rPr>
              <a:t>学期目标</a:t>
            </a:r>
            <a:endParaRPr lang="zh-CN" altLang="en-US" sz="3600">
              <a:solidFill>
                <a:srgbClr val="51688A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249155" y="1150210"/>
            <a:ext cx="8807349" cy="3101917"/>
            <a:chOff x="1243" y="2479"/>
            <a:chExt cx="12067" cy="4250"/>
          </a:xfrm>
        </p:grpSpPr>
        <p:grpSp>
          <p:nvGrpSpPr>
            <p:cNvPr id="6" name="组合 5"/>
            <p:cNvGrpSpPr/>
            <p:nvPr/>
          </p:nvGrpSpPr>
          <p:grpSpPr>
            <a:xfrm>
              <a:off x="4731" y="2479"/>
              <a:ext cx="4070" cy="4034"/>
              <a:chOff x="3157725" y="1268962"/>
              <a:chExt cx="2828550" cy="2803609"/>
            </a:xfrm>
          </p:grpSpPr>
          <p:sp>
            <p:nvSpPr>
              <p:cNvPr id="34" name="矩形: 圆角 2"/>
              <p:cNvSpPr/>
              <p:nvPr/>
            </p:nvSpPr>
            <p:spPr>
              <a:xfrm>
                <a:off x="3196617" y="1268963"/>
                <a:ext cx="1202465" cy="1913013"/>
              </a:xfrm>
              <a:custGeom>
                <a:avLst/>
                <a:gdLst>
                  <a:gd name="connsiteX0" fmla="*/ 0 w 1235948"/>
                  <a:gd name="connsiteY0" fmla="*/ 205995 h 2984360"/>
                  <a:gd name="connsiteX1" fmla="*/ 205995 w 1235948"/>
                  <a:gd name="connsiteY1" fmla="*/ 0 h 2984360"/>
                  <a:gd name="connsiteX2" fmla="*/ 1029953 w 1235948"/>
                  <a:gd name="connsiteY2" fmla="*/ 0 h 2984360"/>
                  <a:gd name="connsiteX3" fmla="*/ 1235948 w 1235948"/>
                  <a:gd name="connsiteY3" fmla="*/ 205995 h 2984360"/>
                  <a:gd name="connsiteX4" fmla="*/ 1235948 w 1235948"/>
                  <a:gd name="connsiteY4" fmla="*/ 2778365 h 2984360"/>
                  <a:gd name="connsiteX5" fmla="*/ 1029953 w 1235948"/>
                  <a:gd name="connsiteY5" fmla="*/ 2984360 h 2984360"/>
                  <a:gd name="connsiteX6" fmla="*/ 205995 w 1235948"/>
                  <a:gd name="connsiteY6" fmla="*/ 2984360 h 2984360"/>
                  <a:gd name="connsiteX7" fmla="*/ 0 w 1235948"/>
                  <a:gd name="connsiteY7" fmla="*/ 2778365 h 2984360"/>
                  <a:gd name="connsiteX8" fmla="*/ 0 w 1235948"/>
                  <a:gd name="connsiteY8" fmla="*/ 205995 h 2984360"/>
                  <a:gd name="connsiteX0-1" fmla="*/ 0 w 1235948"/>
                  <a:gd name="connsiteY0-2" fmla="*/ 205995 h 3055519"/>
                  <a:gd name="connsiteX1-3" fmla="*/ 205995 w 1235948"/>
                  <a:gd name="connsiteY1-4" fmla="*/ 0 h 3055519"/>
                  <a:gd name="connsiteX2-5" fmla="*/ 1029953 w 1235948"/>
                  <a:gd name="connsiteY2-6" fmla="*/ 0 h 3055519"/>
                  <a:gd name="connsiteX3-7" fmla="*/ 1235948 w 1235948"/>
                  <a:gd name="connsiteY3-8" fmla="*/ 205995 h 3055519"/>
                  <a:gd name="connsiteX4-9" fmla="*/ 1235948 w 1235948"/>
                  <a:gd name="connsiteY4-10" fmla="*/ 2778365 h 3055519"/>
                  <a:gd name="connsiteX5-11" fmla="*/ 205995 w 1235948"/>
                  <a:gd name="connsiteY5-12" fmla="*/ 2984360 h 3055519"/>
                  <a:gd name="connsiteX6-13" fmla="*/ 0 w 1235948"/>
                  <a:gd name="connsiteY6-14" fmla="*/ 2778365 h 3055519"/>
                  <a:gd name="connsiteX7-15" fmla="*/ 0 w 1235948"/>
                  <a:gd name="connsiteY7-16" fmla="*/ 205995 h 3055519"/>
                  <a:gd name="connsiteX0-17" fmla="*/ 0 w 1235948"/>
                  <a:gd name="connsiteY0-18" fmla="*/ 205995 h 3099911"/>
                  <a:gd name="connsiteX1-19" fmla="*/ 205995 w 1235948"/>
                  <a:gd name="connsiteY1-20" fmla="*/ 0 h 3099911"/>
                  <a:gd name="connsiteX2-21" fmla="*/ 1029953 w 1235948"/>
                  <a:gd name="connsiteY2-22" fmla="*/ 0 h 3099911"/>
                  <a:gd name="connsiteX3-23" fmla="*/ 1235948 w 1235948"/>
                  <a:gd name="connsiteY3-24" fmla="*/ 205995 h 3099911"/>
                  <a:gd name="connsiteX4-25" fmla="*/ 1235948 w 1235948"/>
                  <a:gd name="connsiteY4-26" fmla="*/ 2778365 h 3099911"/>
                  <a:gd name="connsiteX5-27" fmla="*/ 0 w 1235948"/>
                  <a:gd name="connsiteY5-28" fmla="*/ 2778365 h 3099911"/>
                  <a:gd name="connsiteX6-29" fmla="*/ 0 w 1235948"/>
                  <a:gd name="connsiteY6-30" fmla="*/ 205995 h 3099911"/>
                  <a:gd name="connsiteX0-31" fmla="*/ 0 w 1237120"/>
                  <a:gd name="connsiteY0-32" fmla="*/ 205995 h 3099911"/>
                  <a:gd name="connsiteX1-33" fmla="*/ 205995 w 1237120"/>
                  <a:gd name="connsiteY1-34" fmla="*/ 0 h 3099911"/>
                  <a:gd name="connsiteX2-35" fmla="*/ 1029953 w 1237120"/>
                  <a:gd name="connsiteY2-36" fmla="*/ 0 h 3099911"/>
                  <a:gd name="connsiteX3-37" fmla="*/ 1235948 w 1237120"/>
                  <a:gd name="connsiteY3-38" fmla="*/ 205995 h 3099911"/>
                  <a:gd name="connsiteX4-39" fmla="*/ 1237120 w 1237120"/>
                  <a:gd name="connsiteY4-40" fmla="*/ 1429880 h 3099911"/>
                  <a:gd name="connsiteX5-41" fmla="*/ 1235948 w 1237120"/>
                  <a:gd name="connsiteY5-42" fmla="*/ 2778365 h 3099911"/>
                  <a:gd name="connsiteX6-43" fmla="*/ 0 w 1237120"/>
                  <a:gd name="connsiteY6-44" fmla="*/ 2778365 h 3099911"/>
                  <a:gd name="connsiteX7-45" fmla="*/ 0 w 1237120"/>
                  <a:gd name="connsiteY7-46" fmla="*/ 205995 h 3099911"/>
                  <a:gd name="connsiteX0-47" fmla="*/ 2400 w 1239520"/>
                  <a:gd name="connsiteY0-48" fmla="*/ 205995 h 3099911"/>
                  <a:gd name="connsiteX1-49" fmla="*/ 208395 w 1239520"/>
                  <a:gd name="connsiteY1-50" fmla="*/ 0 h 3099911"/>
                  <a:gd name="connsiteX2-51" fmla="*/ 1032353 w 1239520"/>
                  <a:gd name="connsiteY2-52" fmla="*/ 0 h 3099911"/>
                  <a:gd name="connsiteX3-53" fmla="*/ 1238348 w 1239520"/>
                  <a:gd name="connsiteY3-54" fmla="*/ 205995 h 3099911"/>
                  <a:gd name="connsiteX4-55" fmla="*/ 1239520 w 1239520"/>
                  <a:gd name="connsiteY4-56" fmla="*/ 1429880 h 3099911"/>
                  <a:gd name="connsiteX5-57" fmla="*/ 1238348 w 1239520"/>
                  <a:gd name="connsiteY5-58" fmla="*/ 2778365 h 3099911"/>
                  <a:gd name="connsiteX6-59" fmla="*/ 2400 w 1239520"/>
                  <a:gd name="connsiteY6-60" fmla="*/ 2778365 h 3099911"/>
                  <a:gd name="connsiteX7-61" fmla="*/ 0 w 1239520"/>
                  <a:gd name="connsiteY7-62" fmla="*/ 1942960 h 3099911"/>
                  <a:gd name="connsiteX8-63" fmla="*/ 2400 w 1239520"/>
                  <a:gd name="connsiteY8-64" fmla="*/ 205995 h 3099911"/>
                  <a:gd name="connsiteX0-65" fmla="*/ 2400 w 1239520"/>
                  <a:gd name="connsiteY0-66" fmla="*/ 205995 h 2788135"/>
                  <a:gd name="connsiteX1-67" fmla="*/ 208395 w 1239520"/>
                  <a:gd name="connsiteY1-68" fmla="*/ 0 h 2788135"/>
                  <a:gd name="connsiteX2-69" fmla="*/ 1032353 w 1239520"/>
                  <a:gd name="connsiteY2-70" fmla="*/ 0 h 2788135"/>
                  <a:gd name="connsiteX3-71" fmla="*/ 1238348 w 1239520"/>
                  <a:gd name="connsiteY3-72" fmla="*/ 205995 h 2788135"/>
                  <a:gd name="connsiteX4-73" fmla="*/ 1239520 w 1239520"/>
                  <a:gd name="connsiteY4-74" fmla="*/ 1429880 h 2788135"/>
                  <a:gd name="connsiteX5-75" fmla="*/ 1238348 w 1239520"/>
                  <a:gd name="connsiteY5-76" fmla="*/ 2778365 h 2788135"/>
                  <a:gd name="connsiteX6-77" fmla="*/ 0 w 1239520"/>
                  <a:gd name="connsiteY6-78" fmla="*/ 1942960 h 2788135"/>
                  <a:gd name="connsiteX7-79" fmla="*/ 2400 w 1239520"/>
                  <a:gd name="connsiteY7-80" fmla="*/ 205995 h 2788135"/>
                  <a:gd name="connsiteX0-81" fmla="*/ 2400 w 1873348"/>
                  <a:gd name="connsiteY0-82" fmla="*/ 205995 h 2983738"/>
                  <a:gd name="connsiteX1-83" fmla="*/ 208395 w 1873348"/>
                  <a:gd name="connsiteY1-84" fmla="*/ 0 h 2983738"/>
                  <a:gd name="connsiteX2-85" fmla="*/ 1032353 w 1873348"/>
                  <a:gd name="connsiteY2-86" fmla="*/ 0 h 2983738"/>
                  <a:gd name="connsiteX3-87" fmla="*/ 1238348 w 1873348"/>
                  <a:gd name="connsiteY3-88" fmla="*/ 205995 h 2983738"/>
                  <a:gd name="connsiteX4-89" fmla="*/ 1239520 w 1873348"/>
                  <a:gd name="connsiteY4-90" fmla="*/ 1429880 h 2983738"/>
                  <a:gd name="connsiteX5-91" fmla="*/ 1873348 w 1873348"/>
                  <a:gd name="connsiteY5-92" fmla="*/ 2976485 h 2983738"/>
                  <a:gd name="connsiteX6-93" fmla="*/ 0 w 1873348"/>
                  <a:gd name="connsiteY6-94" fmla="*/ 1942960 h 2983738"/>
                  <a:gd name="connsiteX7-95" fmla="*/ 2400 w 1873348"/>
                  <a:gd name="connsiteY7-96" fmla="*/ 205995 h 2983738"/>
                  <a:gd name="connsiteX0-97" fmla="*/ 2400 w 1873348"/>
                  <a:gd name="connsiteY0-98" fmla="*/ 205995 h 2980909"/>
                  <a:gd name="connsiteX1-99" fmla="*/ 208395 w 1873348"/>
                  <a:gd name="connsiteY1-100" fmla="*/ 0 h 2980909"/>
                  <a:gd name="connsiteX2-101" fmla="*/ 1032353 w 1873348"/>
                  <a:gd name="connsiteY2-102" fmla="*/ 0 h 2980909"/>
                  <a:gd name="connsiteX3-103" fmla="*/ 1238348 w 1873348"/>
                  <a:gd name="connsiteY3-104" fmla="*/ 205995 h 2980909"/>
                  <a:gd name="connsiteX4-105" fmla="*/ 1239520 w 1873348"/>
                  <a:gd name="connsiteY4-106" fmla="*/ 1429880 h 2980909"/>
                  <a:gd name="connsiteX5-107" fmla="*/ 1873348 w 1873348"/>
                  <a:gd name="connsiteY5-108" fmla="*/ 2976485 h 2980909"/>
                  <a:gd name="connsiteX6-109" fmla="*/ 0 w 1873348"/>
                  <a:gd name="connsiteY6-110" fmla="*/ 1942960 h 2980909"/>
                  <a:gd name="connsiteX7-111" fmla="*/ 2400 w 1873348"/>
                  <a:gd name="connsiteY7-112" fmla="*/ 205995 h 2980909"/>
                  <a:gd name="connsiteX0-113" fmla="*/ 2400 w 1873348"/>
                  <a:gd name="connsiteY0-114" fmla="*/ 205995 h 2980909"/>
                  <a:gd name="connsiteX1-115" fmla="*/ 208395 w 1873348"/>
                  <a:gd name="connsiteY1-116" fmla="*/ 0 h 2980909"/>
                  <a:gd name="connsiteX2-117" fmla="*/ 1032353 w 1873348"/>
                  <a:gd name="connsiteY2-118" fmla="*/ 0 h 2980909"/>
                  <a:gd name="connsiteX3-119" fmla="*/ 1238348 w 1873348"/>
                  <a:gd name="connsiteY3-120" fmla="*/ 205995 h 2980909"/>
                  <a:gd name="connsiteX4-121" fmla="*/ 1239520 w 1873348"/>
                  <a:gd name="connsiteY4-122" fmla="*/ 1429880 h 2980909"/>
                  <a:gd name="connsiteX5-123" fmla="*/ 1873348 w 1873348"/>
                  <a:gd name="connsiteY5-124" fmla="*/ 2976485 h 2980909"/>
                  <a:gd name="connsiteX6-125" fmla="*/ 0 w 1873348"/>
                  <a:gd name="connsiteY6-126" fmla="*/ 1942960 h 2980909"/>
                  <a:gd name="connsiteX7-127" fmla="*/ 2400 w 1873348"/>
                  <a:gd name="connsiteY7-128" fmla="*/ 205995 h 2980909"/>
                  <a:gd name="connsiteX0-129" fmla="*/ 2400 w 1873348"/>
                  <a:gd name="connsiteY0-130" fmla="*/ 205995 h 2980326"/>
                  <a:gd name="connsiteX1-131" fmla="*/ 208395 w 1873348"/>
                  <a:gd name="connsiteY1-132" fmla="*/ 0 h 2980326"/>
                  <a:gd name="connsiteX2-133" fmla="*/ 1032353 w 1873348"/>
                  <a:gd name="connsiteY2-134" fmla="*/ 0 h 2980326"/>
                  <a:gd name="connsiteX3-135" fmla="*/ 1238348 w 1873348"/>
                  <a:gd name="connsiteY3-136" fmla="*/ 205995 h 2980326"/>
                  <a:gd name="connsiteX4-137" fmla="*/ 1239520 w 1873348"/>
                  <a:gd name="connsiteY4-138" fmla="*/ 1429880 h 2980326"/>
                  <a:gd name="connsiteX5-139" fmla="*/ 1873348 w 1873348"/>
                  <a:gd name="connsiteY5-140" fmla="*/ 2976485 h 2980326"/>
                  <a:gd name="connsiteX6-141" fmla="*/ 0 w 1873348"/>
                  <a:gd name="connsiteY6-142" fmla="*/ 1942960 h 2980326"/>
                  <a:gd name="connsiteX7-143" fmla="*/ 2400 w 1873348"/>
                  <a:gd name="connsiteY7-144" fmla="*/ 205995 h 298032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</a:cxnLst>
                <a:rect l="l" t="t" r="r" b="b"/>
                <a:pathLst>
                  <a:path w="1873348" h="2980326">
                    <a:moveTo>
                      <a:pt x="2400" y="205995"/>
                    </a:moveTo>
                    <a:cubicBezTo>
                      <a:pt x="2400" y="92227"/>
                      <a:pt x="94627" y="0"/>
                      <a:pt x="208395" y="0"/>
                    </a:cubicBezTo>
                    <a:lnTo>
                      <a:pt x="1032353" y="0"/>
                    </a:lnTo>
                    <a:cubicBezTo>
                      <a:pt x="1146121" y="0"/>
                      <a:pt x="1238348" y="92227"/>
                      <a:pt x="1238348" y="205995"/>
                    </a:cubicBezTo>
                    <a:cubicBezTo>
                      <a:pt x="1238739" y="613957"/>
                      <a:pt x="1239129" y="1021918"/>
                      <a:pt x="1239520" y="1429880"/>
                    </a:cubicBezTo>
                    <a:cubicBezTo>
                      <a:pt x="1239129" y="1879375"/>
                      <a:pt x="1187939" y="2907990"/>
                      <a:pt x="1873348" y="2976485"/>
                    </a:cubicBezTo>
                    <a:cubicBezTo>
                      <a:pt x="5601" y="3041678"/>
                      <a:pt x="23111" y="2259928"/>
                      <a:pt x="0" y="1942960"/>
                    </a:cubicBezTo>
                    <a:lnTo>
                      <a:pt x="2400" y="20599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 Light" panose="020B0502040204020203" charset="-122"/>
                  <a:ea typeface="微软雅黑 Light" panose="020B0502040204020203" charset="-122"/>
                  <a:cs typeface="+mn-cs"/>
                </a:endParaRPr>
              </a:p>
            </p:txBody>
          </p:sp>
          <p:sp>
            <p:nvSpPr>
              <p:cNvPr id="35" name="矩形: 圆角 2"/>
              <p:cNvSpPr/>
              <p:nvPr/>
            </p:nvSpPr>
            <p:spPr>
              <a:xfrm rot="5400000">
                <a:off x="4428536" y="913689"/>
                <a:ext cx="1202465" cy="1913012"/>
              </a:xfrm>
              <a:custGeom>
                <a:avLst/>
                <a:gdLst>
                  <a:gd name="connsiteX0" fmla="*/ 0 w 1235948"/>
                  <a:gd name="connsiteY0" fmla="*/ 205995 h 2984360"/>
                  <a:gd name="connsiteX1" fmla="*/ 205995 w 1235948"/>
                  <a:gd name="connsiteY1" fmla="*/ 0 h 2984360"/>
                  <a:gd name="connsiteX2" fmla="*/ 1029953 w 1235948"/>
                  <a:gd name="connsiteY2" fmla="*/ 0 h 2984360"/>
                  <a:gd name="connsiteX3" fmla="*/ 1235948 w 1235948"/>
                  <a:gd name="connsiteY3" fmla="*/ 205995 h 2984360"/>
                  <a:gd name="connsiteX4" fmla="*/ 1235948 w 1235948"/>
                  <a:gd name="connsiteY4" fmla="*/ 2778365 h 2984360"/>
                  <a:gd name="connsiteX5" fmla="*/ 1029953 w 1235948"/>
                  <a:gd name="connsiteY5" fmla="*/ 2984360 h 2984360"/>
                  <a:gd name="connsiteX6" fmla="*/ 205995 w 1235948"/>
                  <a:gd name="connsiteY6" fmla="*/ 2984360 h 2984360"/>
                  <a:gd name="connsiteX7" fmla="*/ 0 w 1235948"/>
                  <a:gd name="connsiteY7" fmla="*/ 2778365 h 2984360"/>
                  <a:gd name="connsiteX8" fmla="*/ 0 w 1235948"/>
                  <a:gd name="connsiteY8" fmla="*/ 205995 h 2984360"/>
                  <a:gd name="connsiteX0-1" fmla="*/ 0 w 1235948"/>
                  <a:gd name="connsiteY0-2" fmla="*/ 205995 h 3055519"/>
                  <a:gd name="connsiteX1-3" fmla="*/ 205995 w 1235948"/>
                  <a:gd name="connsiteY1-4" fmla="*/ 0 h 3055519"/>
                  <a:gd name="connsiteX2-5" fmla="*/ 1029953 w 1235948"/>
                  <a:gd name="connsiteY2-6" fmla="*/ 0 h 3055519"/>
                  <a:gd name="connsiteX3-7" fmla="*/ 1235948 w 1235948"/>
                  <a:gd name="connsiteY3-8" fmla="*/ 205995 h 3055519"/>
                  <a:gd name="connsiteX4-9" fmla="*/ 1235948 w 1235948"/>
                  <a:gd name="connsiteY4-10" fmla="*/ 2778365 h 3055519"/>
                  <a:gd name="connsiteX5-11" fmla="*/ 205995 w 1235948"/>
                  <a:gd name="connsiteY5-12" fmla="*/ 2984360 h 3055519"/>
                  <a:gd name="connsiteX6-13" fmla="*/ 0 w 1235948"/>
                  <a:gd name="connsiteY6-14" fmla="*/ 2778365 h 3055519"/>
                  <a:gd name="connsiteX7-15" fmla="*/ 0 w 1235948"/>
                  <a:gd name="connsiteY7-16" fmla="*/ 205995 h 3055519"/>
                  <a:gd name="connsiteX0-17" fmla="*/ 0 w 1235948"/>
                  <a:gd name="connsiteY0-18" fmla="*/ 205995 h 3099911"/>
                  <a:gd name="connsiteX1-19" fmla="*/ 205995 w 1235948"/>
                  <a:gd name="connsiteY1-20" fmla="*/ 0 h 3099911"/>
                  <a:gd name="connsiteX2-21" fmla="*/ 1029953 w 1235948"/>
                  <a:gd name="connsiteY2-22" fmla="*/ 0 h 3099911"/>
                  <a:gd name="connsiteX3-23" fmla="*/ 1235948 w 1235948"/>
                  <a:gd name="connsiteY3-24" fmla="*/ 205995 h 3099911"/>
                  <a:gd name="connsiteX4-25" fmla="*/ 1235948 w 1235948"/>
                  <a:gd name="connsiteY4-26" fmla="*/ 2778365 h 3099911"/>
                  <a:gd name="connsiteX5-27" fmla="*/ 0 w 1235948"/>
                  <a:gd name="connsiteY5-28" fmla="*/ 2778365 h 3099911"/>
                  <a:gd name="connsiteX6-29" fmla="*/ 0 w 1235948"/>
                  <a:gd name="connsiteY6-30" fmla="*/ 205995 h 3099911"/>
                  <a:gd name="connsiteX0-31" fmla="*/ 0 w 1237120"/>
                  <a:gd name="connsiteY0-32" fmla="*/ 205995 h 3099911"/>
                  <a:gd name="connsiteX1-33" fmla="*/ 205995 w 1237120"/>
                  <a:gd name="connsiteY1-34" fmla="*/ 0 h 3099911"/>
                  <a:gd name="connsiteX2-35" fmla="*/ 1029953 w 1237120"/>
                  <a:gd name="connsiteY2-36" fmla="*/ 0 h 3099911"/>
                  <a:gd name="connsiteX3-37" fmla="*/ 1235948 w 1237120"/>
                  <a:gd name="connsiteY3-38" fmla="*/ 205995 h 3099911"/>
                  <a:gd name="connsiteX4-39" fmla="*/ 1237120 w 1237120"/>
                  <a:gd name="connsiteY4-40" fmla="*/ 1429880 h 3099911"/>
                  <a:gd name="connsiteX5-41" fmla="*/ 1235948 w 1237120"/>
                  <a:gd name="connsiteY5-42" fmla="*/ 2778365 h 3099911"/>
                  <a:gd name="connsiteX6-43" fmla="*/ 0 w 1237120"/>
                  <a:gd name="connsiteY6-44" fmla="*/ 2778365 h 3099911"/>
                  <a:gd name="connsiteX7-45" fmla="*/ 0 w 1237120"/>
                  <a:gd name="connsiteY7-46" fmla="*/ 205995 h 3099911"/>
                  <a:gd name="connsiteX0-47" fmla="*/ 2400 w 1239520"/>
                  <a:gd name="connsiteY0-48" fmla="*/ 205995 h 3099911"/>
                  <a:gd name="connsiteX1-49" fmla="*/ 208395 w 1239520"/>
                  <a:gd name="connsiteY1-50" fmla="*/ 0 h 3099911"/>
                  <a:gd name="connsiteX2-51" fmla="*/ 1032353 w 1239520"/>
                  <a:gd name="connsiteY2-52" fmla="*/ 0 h 3099911"/>
                  <a:gd name="connsiteX3-53" fmla="*/ 1238348 w 1239520"/>
                  <a:gd name="connsiteY3-54" fmla="*/ 205995 h 3099911"/>
                  <a:gd name="connsiteX4-55" fmla="*/ 1239520 w 1239520"/>
                  <a:gd name="connsiteY4-56" fmla="*/ 1429880 h 3099911"/>
                  <a:gd name="connsiteX5-57" fmla="*/ 1238348 w 1239520"/>
                  <a:gd name="connsiteY5-58" fmla="*/ 2778365 h 3099911"/>
                  <a:gd name="connsiteX6-59" fmla="*/ 2400 w 1239520"/>
                  <a:gd name="connsiteY6-60" fmla="*/ 2778365 h 3099911"/>
                  <a:gd name="connsiteX7-61" fmla="*/ 0 w 1239520"/>
                  <a:gd name="connsiteY7-62" fmla="*/ 1942960 h 3099911"/>
                  <a:gd name="connsiteX8-63" fmla="*/ 2400 w 1239520"/>
                  <a:gd name="connsiteY8-64" fmla="*/ 205995 h 3099911"/>
                  <a:gd name="connsiteX0-65" fmla="*/ 2400 w 1239520"/>
                  <a:gd name="connsiteY0-66" fmla="*/ 205995 h 2788135"/>
                  <a:gd name="connsiteX1-67" fmla="*/ 208395 w 1239520"/>
                  <a:gd name="connsiteY1-68" fmla="*/ 0 h 2788135"/>
                  <a:gd name="connsiteX2-69" fmla="*/ 1032353 w 1239520"/>
                  <a:gd name="connsiteY2-70" fmla="*/ 0 h 2788135"/>
                  <a:gd name="connsiteX3-71" fmla="*/ 1238348 w 1239520"/>
                  <a:gd name="connsiteY3-72" fmla="*/ 205995 h 2788135"/>
                  <a:gd name="connsiteX4-73" fmla="*/ 1239520 w 1239520"/>
                  <a:gd name="connsiteY4-74" fmla="*/ 1429880 h 2788135"/>
                  <a:gd name="connsiteX5-75" fmla="*/ 1238348 w 1239520"/>
                  <a:gd name="connsiteY5-76" fmla="*/ 2778365 h 2788135"/>
                  <a:gd name="connsiteX6-77" fmla="*/ 0 w 1239520"/>
                  <a:gd name="connsiteY6-78" fmla="*/ 1942960 h 2788135"/>
                  <a:gd name="connsiteX7-79" fmla="*/ 2400 w 1239520"/>
                  <a:gd name="connsiteY7-80" fmla="*/ 205995 h 2788135"/>
                  <a:gd name="connsiteX0-81" fmla="*/ 2400 w 1873348"/>
                  <a:gd name="connsiteY0-82" fmla="*/ 205995 h 2983738"/>
                  <a:gd name="connsiteX1-83" fmla="*/ 208395 w 1873348"/>
                  <a:gd name="connsiteY1-84" fmla="*/ 0 h 2983738"/>
                  <a:gd name="connsiteX2-85" fmla="*/ 1032353 w 1873348"/>
                  <a:gd name="connsiteY2-86" fmla="*/ 0 h 2983738"/>
                  <a:gd name="connsiteX3-87" fmla="*/ 1238348 w 1873348"/>
                  <a:gd name="connsiteY3-88" fmla="*/ 205995 h 2983738"/>
                  <a:gd name="connsiteX4-89" fmla="*/ 1239520 w 1873348"/>
                  <a:gd name="connsiteY4-90" fmla="*/ 1429880 h 2983738"/>
                  <a:gd name="connsiteX5-91" fmla="*/ 1873348 w 1873348"/>
                  <a:gd name="connsiteY5-92" fmla="*/ 2976485 h 2983738"/>
                  <a:gd name="connsiteX6-93" fmla="*/ 0 w 1873348"/>
                  <a:gd name="connsiteY6-94" fmla="*/ 1942960 h 2983738"/>
                  <a:gd name="connsiteX7-95" fmla="*/ 2400 w 1873348"/>
                  <a:gd name="connsiteY7-96" fmla="*/ 205995 h 2983738"/>
                  <a:gd name="connsiteX0-97" fmla="*/ 2400 w 1873348"/>
                  <a:gd name="connsiteY0-98" fmla="*/ 205995 h 2980909"/>
                  <a:gd name="connsiteX1-99" fmla="*/ 208395 w 1873348"/>
                  <a:gd name="connsiteY1-100" fmla="*/ 0 h 2980909"/>
                  <a:gd name="connsiteX2-101" fmla="*/ 1032353 w 1873348"/>
                  <a:gd name="connsiteY2-102" fmla="*/ 0 h 2980909"/>
                  <a:gd name="connsiteX3-103" fmla="*/ 1238348 w 1873348"/>
                  <a:gd name="connsiteY3-104" fmla="*/ 205995 h 2980909"/>
                  <a:gd name="connsiteX4-105" fmla="*/ 1239520 w 1873348"/>
                  <a:gd name="connsiteY4-106" fmla="*/ 1429880 h 2980909"/>
                  <a:gd name="connsiteX5-107" fmla="*/ 1873348 w 1873348"/>
                  <a:gd name="connsiteY5-108" fmla="*/ 2976485 h 2980909"/>
                  <a:gd name="connsiteX6-109" fmla="*/ 0 w 1873348"/>
                  <a:gd name="connsiteY6-110" fmla="*/ 1942960 h 2980909"/>
                  <a:gd name="connsiteX7-111" fmla="*/ 2400 w 1873348"/>
                  <a:gd name="connsiteY7-112" fmla="*/ 205995 h 2980909"/>
                  <a:gd name="connsiteX0-113" fmla="*/ 2400 w 1873348"/>
                  <a:gd name="connsiteY0-114" fmla="*/ 205995 h 2980909"/>
                  <a:gd name="connsiteX1-115" fmla="*/ 208395 w 1873348"/>
                  <a:gd name="connsiteY1-116" fmla="*/ 0 h 2980909"/>
                  <a:gd name="connsiteX2-117" fmla="*/ 1032353 w 1873348"/>
                  <a:gd name="connsiteY2-118" fmla="*/ 0 h 2980909"/>
                  <a:gd name="connsiteX3-119" fmla="*/ 1238348 w 1873348"/>
                  <a:gd name="connsiteY3-120" fmla="*/ 205995 h 2980909"/>
                  <a:gd name="connsiteX4-121" fmla="*/ 1239520 w 1873348"/>
                  <a:gd name="connsiteY4-122" fmla="*/ 1429880 h 2980909"/>
                  <a:gd name="connsiteX5-123" fmla="*/ 1873348 w 1873348"/>
                  <a:gd name="connsiteY5-124" fmla="*/ 2976485 h 2980909"/>
                  <a:gd name="connsiteX6-125" fmla="*/ 0 w 1873348"/>
                  <a:gd name="connsiteY6-126" fmla="*/ 1942960 h 2980909"/>
                  <a:gd name="connsiteX7-127" fmla="*/ 2400 w 1873348"/>
                  <a:gd name="connsiteY7-128" fmla="*/ 205995 h 2980909"/>
                  <a:gd name="connsiteX0-129" fmla="*/ 2400 w 1873348"/>
                  <a:gd name="connsiteY0-130" fmla="*/ 205995 h 2980326"/>
                  <a:gd name="connsiteX1-131" fmla="*/ 208395 w 1873348"/>
                  <a:gd name="connsiteY1-132" fmla="*/ 0 h 2980326"/>
                  <a:gd name="connsiteX2-133" fmla="*/ 1032353 w 1873348"/>
                  <a:gd name="connsiteY2-134" fmla="*/ 0 h 2980326"/>
                  <a:gd name="connsiteX3-135" fmla="*/ 1238348 w 1873348"/>
                  <a:gd name="connsiteY3-136" fmla="*/ 205995 h 2980326"/>
                  <a:gd name="connsiteX4-137" fmla="*/ 1239520 w 1873348"/>
                  <a:gd name="connsiteY4-138" fmla="*/ 1429880 h 2980326"/>
                  <a:gd name="connsiteX5-139" fmla="*/ 1873348 w 1873348"/>
                  <a:gd name="connsiteY5-140" fmla="*/ 2976485 h 2980326"/>
                  <a:gd name="connsiteX6-141" fmla="*/ 0 w 1873348"/>
                  <a:gd name="connsiteY6-142" fmla="*/ 1942960 h 2980326"/>
                  <a:gd name="connsiteX7-143" fmla="*/ 2400 w 1873348"/>
                  <a:gd name="connsiteY7-144" fmla="*/ 205995 h 298032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</a:cxnLst>
                <a:rect l="l" t="t" r="r" b="b"/>
                <a:pathLst>
                  <a:path w="1873348" h="2980326">
                    <a:moveTo>
                      <a:pt x="2400" y="205995"/>
                    </a:moveTo>
                    <a:cubicBezTo>
                      <a:pt x="2400" y="92227"/>
                      <a:pt x="94627" y="0"/>
                      <a:pt x="208395" y="0"/>
                    </a:cubicBezTo>
                    <a:lnTo>
                      <a:pt x="1032353" y="0"/>
                    </a:lnTo>
                    <a:cubicBezTo>
                      <a:pt x="1146121" y="0"/>
                      <a:pt x="1238348" y="92227"/>
                      <a:pt x="1238348" y="205995"/>
                    </a:cubicBezTo>
                    <a:cubicBezTo>
                      <a:pt x="1238739" y="613957"/>
                      <a:pt x="1239129" y="1021918"/>
                      <a:pt x="1239520" y="1429880"/>
                    </a:cubicBezTo>
                    <a:cubicBezTo>
                      <a:pt x="1239129" y="1879375"/>
                      <a:pt x="1187939" y="2907990"/>
                      <a:pt x="1873348" y="2976485"/>
                    </a:cubicBezTo>
                    <a:cubicBezTo>
                      <a:pt x="5601" y="3041678"/>
                      <a:pt x="23111" y="2259928"/>
                      <a:pt x="0" y="1942960"/>
                    </a:cubicBezTo>
                    <a:lnTo>
                      <a:pt x="2400" y="20599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 Light" panose="020B0502040204020203" charset="-122"/>
                  <a:ea typeface="微软雅黑 Light" panose="020B0502040204020203" charset="-122"/>
                  <a:cs typeface="+mn-cs"/>
                </a:endParaRPr>
              </a:p>
            </p:txBody>
          </p:sp>
          <p:sp>
            <p:nvSpPr>
              <p:cNvPr id="36" name="矩形: 圆角 2"/>
              <p:cNvSpPr/>
              <p:nvPr/>
            </p:nvSpPr>
            <p:spPr>
              <a:xfrm rot="10800000">
                <a:off x="4778835" y="2159558"/>
                <a:ext cx="1202465" cy="1913013"/>
              </a:xfrm>
              <a:custGeom>
                <a:avLst/>
                <a:gdLst>
                  <a:gd name="connsiteX0" fmla="*/ 0 w 1235948"/>
                  <a:gd name="connsiteY0" fmla="*/ 205995 h 2984360"/>
                  <a:gd name="connsiteX1" fmla="*/ 205995 w 1235948"/>
                  <a:gd name="connsiteY1" fmla="*/ 0 h 2984360"/>
                  <a:gd name="connsiteX2" fmla="*/ 1029953 w 1235948"/>
                  <a:gd name="connsiteY2" fmla="*/ 0 h 2984360"/>
                  <a:gd name="connsiteX3" fmla="*/ 1235948 w 1235948"/>
                  <a:gd name="connsiteY3" fmla="*/ 205995 h 2984360"/>
                  <a:gd name="connsiteX4" fmla="*/ 1235948 w 1235948"/>
                  <a:gd name="connsiteY4" fmla="*/ 2778365 h 2984360"/>
                  <a:gd name="connsiteX5" fmla="*/ 1029953 w 1235948"/>
                  <a:gd name="connsiteY5" fmla="*/ 2984360 h 2984360"/>
                  <a:gd name="connsiteX6" fmla="*/ 205995 w 1235948"/>
                  <a:gd name="connsiteY6" fmla="*/ 2984360 h 2984360"/>
                  <a:gd name="connsiteX7" fmla="*/ 0 w 1235948"/>
                  <a:gd name="connsiteY7" fmla="*/ 2778365 h 2984360"/>
                  <a:gd name="connsiteX8" fmla="*/ 0 w 1235948"/>
                  <a:gd name="connsiteY8" fmla="*/ 205995 h 2984360"/>
                  <a:gd name="connsiteX0-1" fmla="*/ 0 w 1235948"/>
                  <a:gd name="connsiteY0-2" fmla="*/ 205995 h 3055519"/>
                  <a:gd name="connsiteX1-3" fmla="*/ 205995 w 1235948"/>
                  <a:gd name="connsiteY1-4" fmla="*/ 0 h 3055519"/>
                  <a:gd name="connsiteX2-5" fmla="*/ 1029953 w 1235948"/>
                  <a:gd name="connsiteY2-6" fmla="*/ 0 h 3055519"/>
                  <a:gd name="connsiteX3-7" fmla="*/ 1235948 w 1235948"/>
                  <a:gd name="connsiteY3-8" fmla="*/ 205995 h 3055519"/>
                  <a:gd name="connsiteX4-9" fmla="*/ 1235948 w 1235948"/>
                  <a:gd name="connsiteY4-10" fmla="*/ 2778365 h 3055519"/>
                  <a:gd name="connsiteX5-11" fmla="*/ 205995 w 1235948"/>
                  <a:gd name="connsiteY5-12" fmla="*/ 2984360 h 3055519"/>
                  <a:gd name="connsiteX6-13" fmla="*/ 0 w 1235948"/>
                  <a:gd name="connsiteY6-14" fmla="*/ 2778365 h 3055519"/>
                  <a:gd name="connsiteX7-15" fmla="*/ 0 w 1235948"/>
                  <a:gd name="connsiteY7-16" fmla="*/ 205995 h 3055519"/>
                  <a:gd name="connsiteX0-17" fmla="*/ 0 w 1235948"/>
                  <a:gd name="connsiteY0-18" fmla="*/ 205995 h 3099911"/>
                  <a:gd name="connsiteX1-19" fmla="*/ 205995 w 1235948"/>
                  <a:gd name="connsiteY1-20" fmla="*/ 0 h 3099911"/>
                  <a:gd name="connsiteX2-21" fmla="*/ 1029953 w 1235948"/>
                  <a:gd name="connsiteY2-22" fmla="*/ 0 h 3099911"/>
                  <a:gd name="connsiteX3-23" fmla="*/ 1235948 w 1235948"/>
                  <a:gd name="connsiteY3-24" fmla="*/ 205995 h 3099911"/>
                  <a:gd name="connsiteX4-25" fmla="*/ 1235948 w 1235948"/>
                  <a:gd name="connsiteY4-26" fmla="*/ 2778365 h 3099911"/>
                  <a:gd name="connsiteX5-27" fmla="*/ 0 w 1235948"/>
                  <a:gd name="connsiteY5-28" fmla="*/ 2778365 h 3099911"/>
                  <a:gd name="connsiteX6-29" fmla="*/ 0 w 1235948"/>
                  <a:gd name="connsiteY6-30" fmla="*/ 205995 h 3099911"/>
                  <a:gd name="connsiteX0-31" fmla="*/ 0 w 1237120"/>
                  <a:gd name="connsiteY0-32" fmla="*/ 205995 h 3099911"/>
                  <a:gd name="connsiteX1-33" fmla="*/ 205995 w 1237120"/>
                  <a:gd name="connsiteY1-34" fmla="*/ 0 h 3099911"/>
                  <a:gd name="connsiteX2-35" fmla="*/ 1029953 w 1237120"/>
                  <a:gd name="connsiteY2-36" fmla="*/ 0 h 3099911"/>
                  <a:gd name="connsiteX3-37" fmla="*/ 1235948 w 1237120"/>
                  <a:gd name="connsiteY3-38" fmla="*/ 205995 h 3099911"/>
                  <a:gd name="connsiteX4-39" fmla="*/ 1237120 w 1237120"/>
                  <a:gd name="connsiteY4-40" fmla="*/ 1429880 h 3099911"/>
                  <a:gd name="connsiteX5-41" fmla="*/ 1235948 w 1237120"/>
                  <a:gd name="connsiteY5-42" fmla="*/ 2778365 h 3099911"/>
                  <a:gd name="connsiteX6-43" fmla="*/ 0 w 1237120"/>
                  <a:gd name="connsiteY6-44" fmla="*/ 2778365 h 3099911"/>
                  <a:gd name="connsiteX7-45" fmla="*/ 0 w 1237120"/>
                  <a:gd name="connsiteY7-46" fmla="*/ 205995 h 3099911"/>
                  <a:gd name="connsiteX0-47" fmla="*/ 2400 w 1239520"/>
                  <a:gd name="connsiteY0-48" fmla="*/ 205995 h 3099911"/>
                  <a:gd name="connsiteX1-49" fmla="*/ 208395 w 1239520"/>
                  <a:gd name="connsiteY1-50" fmla="*/ 0 h 3099911"/>
                  <a:gd name="connsiteX2-51" fmla="*/ 1032353 w 1239520"/>
                  <a:gd name="connsiteY2-52" fmla="*/ 0 h 3099911"/>
                  <a:gd name="connsiteX3-53" fmla="*/ 1238348 w 1239520"/>
                  <a:gd name="connsiteY3-54" fmla="*/ 205995 h 3099911"/>
                  <a:gd name="connsiteX4-55" fmla="*/ 1239520 w 1239520"/>
                  <a:gd name="connsiteY4-56" fmla="*/ 1429880 h 3099911"/>
                  <a:gd name="connsiteX5-57" fmla="*/ 1238348 w 1239520"/>
                  <a:gd name="connsiteY5-58" fmla="*/ 2778365 h 3099911"/>
                  <a:gd name="connsiteX6-59" fmla="*/ 2400 w 1239520"/>
                  <a:gd name="connsiteY6-60" fmla="*/ 2778365 h 3099911"/>
                  <a:gd name="connsiteX7-61" fmla="*/ 0 w 1239520"/>
                  <a:gd name="connsiteY7-62" fmla="*/ 1942960 h 3099911"/>
                  <a:gd name="connsiteX8-63" fmla="*/ 2400 w 1239520"/>
                  <a:gd name="connsiteY8-64" fmla="*/ 205995 h 3099911"/>
                  <a:gd name="connsiteX0-65" fmla="*/ 2400 w 1239520"/>
                  <a:gd name="connsiteY0-66" fmla="*/ 205995 h 2788135"/>
                  <a:gd name="connsiteX1-67" fmla="*/ 208395 w 1239520"/>
                  <a:gd name="connsiteY1-68" fmla="*/ 0 h 2788135"/>
                  <a:gd name="connsiteX2-69" fmla="*/ 1032353 w 1239520"/>
                  <a:gd name="connsiteY2-70" fmla="*/ 0 h 2788135"/>
                  <a:gd name="connsiteX3-71" fmla="*/ 1238348 w 1239520"/>
                  <a:gd name="connsiteY3-72" fmla="*/ 205995 h 2788135"/>
                  <a:gd name="connsiteX4-73" fmla="*/ 1239520 w 1239520"/>
                  <a:gd name="connsiteY4-74" fmla="*/ 1429880 h 2788135"/>
                  <a:gd name="connsiteX5-75" fmla="*/ 1238348 w 1239520"/>
                  <a:gd name="connsiteY5-76" fmla="*/ 2778365 h 2788135"/>
                  <a:gd name="connsiteX6-77" fmla="*/ 0 w 1239520"/>
                  <a:gd name="connsiteY6-78" fmla="*/ 1942960 h 2788135"/>
                  <a:gd name="connsiteX7-79" fmla="*/ 2400 w 1239520"/>
                  <a:gd name="connsiteY7-80" fmla="*/ 205995 h 2788135"/>
                  <a:gd name="connsiteX0-81" fmla="*/ 2400 w 1873348"/>
                  <a:gd name="connsiteY0-82" fmla="*/ 205995 h 2983738"/>
                  <a:gd name="connsiteX1-83" fmla="*/ 208395 w 1873348"/>
                  <a:gd name="connsiteY1-84" fmla="*/ 0 h 2983738"/>
                  <a:gd name="connsiteX2-85" fmla="*/ 1032353 w 1873348"/>
                  <a:gd name="connsiteY2-86" fmla="*/ 0 h 2983738"/>
                  <a:gd name="connsiteX3-87" fmla="*/ 1238348 w 1873348"/>
                  <a:gd name="connsiteY3-88" fmla="*/ 205995 h 2983738"/>
                  <a:gd name="connsiteX4-89" fmla="*/ 1239520 w 1873348"/>
                  <a:gd name="connsiteY4-90" fmla="*/ 1429880 h 2983738"/>
                  <a:gd name="connsiteX5-91" fmla="*/ 1873348 w 1873348"/>
                  <a:gd name="connsiteY5-92" fmla="*/ 2976485 h 2983738"/>
                  <a:gd name="connsiteX6-93" fmla="*/ 0 w 1873348"/>
                  <a:gd name="connsiteY6-94" fmla="*/ 1942960 h 2983738"/>
                  <a:gd name="connsiteX7-95" fmla="*/ 2400 w 1873348"/>
                  <a:gd name="connsiteY7-96" fmla="*/ 205995 h 2983738"/>
                  <a:gd name="connsiteX0-97" fmla="*/ 2400 w 1873348"/>
                  <a:gd name="connsiteY0-98" fmla="*/ 205995 h 2980909"/>
                  <a:gd name="connsiteX1-99" fmla="*/ 208395 w 1873348"/>
                  <a:gd name="connsiteY1-100" fmla="*/ 0 h 2980909"/>
                  <a:gd name="connsiteX2-101" fmla="*/ 1032353 w 1873348"/>
                  <a:gd name="connsiteY2-102" fmla="*/ 0 h 2980909"/>
                  <a:gd name="connsiteX3-103" fmla="*/ 1238348 w 1873348"/>
                  <a:gd name="connsiteY3-104" fmla="*/ 205995 h 2980909"/>
                  <a:gd name="connsiteX4-105" fmla="*/ 1239520 w 1873348"/>
                  <a:gd name="connsiteY4-106" fmla="*/ 1429880 h 2980909"/>
                  <a:gd name="connsiteX5-107" fmla="*/ 1873348 w 1873348"/>
                  <a:gd name="connsiteY5-108" fmla="*/ 2976485 h 2980909"/>
                  <a:gd name="connsiteX6-109" fmla="*/ 0 w 1873348"/>
                  <a:gd name="connsiteY6-110" fmla="*/ 1942960 h 2980909"/>
                  <a:gd name="connsiteX7-111" fmla="*/ 2400 w 1873348"/>
                  <a:gd name="connsiteY7-112" fmla="*/ 205995 h 2980909"/>
                  <a:gd name="connsiteX0-113" fmla="*/ 2400 w 1873348"/>
                  <a:gd name="connsiteY0-114" fmla="*/ 205995 h 2980909"/>
                  <a:gd name="connsiteX1-115" fmla="*/ 208395 w 1873348"/>
                  <a:gd name="connsiteY1-116" fmla="*/ 0 h 2980909"/>
                  <a:gd name="connsiteX2-117" fmla="*/ 1032353 w 1873348"/>
                  <a:gd name="connsiteY2-118" fmla="*/ 0 h 2980909"/>
                  <a:gd name="connsiteX3-119" fmla="*/ 1238348 w 1873348"/>
                  <a:gd name="connsiteY3-120" fmla="*/ 205995 h 2980909"/>
                  <a:gd name="connsiteX4-121" fmla="*/ 1239520 w 1873348"/>
                  <a:gd name="connsiteY4-122" fmla="*/ 1429880 h 2980909"/>
                  <a:gd name="connsiteX5-123" fmla="*/ 1873348 w 1873348"/>
                  <a:gd name="connsiteY5-124" fmla="*/ 2976485 h 2980909"/>
                  <a:gd name="connsiteX6-125" fmla="*/ 0 w 1873348"/>
                  <a:gd name="connsiteY6-126" fmla="*/ 1942960 h 2980909"/>
                  <a:gd name="connsiteX7-127" fmla="*/ 2400 w 1873348"/>
                  <a:gd name="connsiteY7-128" fmla="*/ 205995 h 2980909"/>
                  <a:gd name="connsiteX0-129" fmla="*/ 2400 w 1873348"/>
                  <a:gd name="connsiteY0-130" fmla="*/ 205995 h 2980326"/>
                  <a:gd name="connsiteX1-131" fmla="*/ 208395 w 1873348"/>
                  <a:gd name="connsiteY1-132" fmla="*/ 0 h 2980326"/>
                  <a:gd name="connsiteX2-133" fmla="*/ 1032353 w 1873348"/>
                  <a:gd name="connsiteY2-134" fmla="*/ 0 h 2980326"/>
                  <a:gd name="connsiteX3-135" fmla="*/ 1238348 w 1873348"/>
                  <a:gd name="connsiteY3-136" fmla="*/ 205995 h 2980326"/>
                  <a:gd name="connsiteX4-137" fmla="*/ 1239520 w 1873348"/>
                  <a:gd name="connsiteY4-138" fmla="*/ 1429880 h 2980326"/>
                  <a:gd name="connsiteX5-139" fmla="*/ 1873348 w 1873348"/>
                  <a:gd name="connsiteY5-140" fmla="*/ 2976485 h 2980326"/>
                  <a:gd name="connsiteX6-141" fmla="*/ 0 w 1873348"/>
                  <a:gd name="connsiteY6-142" fmla="*/ 1942960 h 2980326"/>
                  <a:gd name="connsiteX7-143" fmla="*/ 2400 w 1873348"/>
                  <a:gd name="connsiteY7-144" fmla="*/ 205995 h 298032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</a:cxnLst>
                <a:rect l="l" t="t" r="r" b="b"/>
                <a:pathLst>
                  <a:path w="1873348" h="2980326">
                    <a:moveTo>
                      <a:pt x="2400" y="205995"/>
                    </a:moveTo>
                    <a:cubicBezTo>
                      <a:pt x="2400" y="92227"/>
                      <a:pt x="94627" y="0"/>
                      <a:pt x="208395" y="0"/>
                    </a:cubicBezTo>
                    <a:lnTo>
                      <a:pt x="1032353" y="0"/>
                    </a:lnTo>
                    <a:cubicBezTo>
                      <a:pt x="1146121" y="0"/>
                      <a:pt x="1238348" y="92227"/>
                      <a:pt x="1238348" y="205995"/>
                    </a:cubicBezTo>
                    <a:cubicBezTo>
                      <a:pt x="1238739" y="613957"/>
                      <a:pt x="1239129" y="1021918"/>
                      <a:pt x="1239520" y="1429880"/>
                    </a:cubicBezTo>
                    <a:cubicBezTo>
                      <a:pt x="1239129" y="1879375"/>
                      <a:pt x="1187939" y="2907990"/>
                      <a:pt x="1873348" y="2976485"/>
                    </a:cubicBezTo>
                    <a:cubicBezTo>
                      <a:pt x="5601" y="3041678"/>
                      <a:pt x="23111" y="2259928"/>
                      <a:pt x="0" y="1942960"/>
                    </a:cubicBezTo>
                    <a:lnTo>
                      <a:pt x="2400" y="205995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 Light" panose="020B0502040204020203" charset="-122"/>
                  <a:ea typeface="微软雅黑 Light" panose="020B0502040204020203" charset="-122"/>
                  <a:cs typeface="+mn-cs"/>
                </a:endParaRPr>
              </a:p>
            </p:txBody>
          </p:sp>
          <p:sp>
            <p:nvSpPr>
              <p:cNvPr id="37" name="矩形: 圆角 2"/>
              <p:cNvSpPr/>
              <p:nvPr/>
            </p:nvSpPr>
            <p:spPr>
              <a:xfrm rot="16200000">
                <a:off x="3512998" y="2514832"/>
                <a:ext cx="1202465" cy="1913012"/>
              </a:xfrm>
              <a:custGeom>
                <a:avLst/>
                <a:gdLst>
                  <a:gd name="connsiteX0" fmla="*/ 0 w 1235948"/>
                  <a:gd name="connsiteY0" fmla="*/ 205995 h 2984360"/>
                  <a:gd name="connsiteX1" fmla="*/ 205995 w 1235948"/>
                  <a:gd name="connsiteY1" fmla="*/ 0 h 2984360"/>
                  <a:gd name="connsiteX2" fmla="*/ 1029953 w 1235948"/>
                  <a:gd name="connsiteY2" fmla="*/ 0 h 2984360"/>
                  <a:gd name="connsiteX3" fmla="*/ 1235948 w 1235948"/>
                  <a:gd name="connsiteY3" fmla="*/ 205995 h 2984360"/>
                  <a:gd name="connsiteX4" fmla="*/ 1235948 w 1235948"/>
                  <a:gd name="connsiteY4" fmla="*/ 2778365 h 2984360"/>
                  <a:gd name="connsiteX5" fmla="*/ 1029953 w 1235948"/>
                  <a:gd name="connsiteY5" fmla="*/ 2984360 h 2984360"/>
                  <a:gd name="connsiteX6" fmla="*/ 205995 w 1235948"/>
                  <a:gd name="connsiteY6" fmla="*/ 2984360 h 2984360"/>
                  <a:gd name="connsiteX7" fmla="*/ 0 w 1235948"/>
                  <a:gd name="connsiteY7" fmla="*/ 2778365 h 2984360"/>
                  <a:gd name="connsiteX8" fmla="*/ 0 w 1235948"/>
                  <a:gd name="connsiteY8" fmla="*/ 205995 h 2984360"/>
                  <a:gd name="connsiteX0-1" fmla="*/ 0 w 1235948"/>
                  <a:gd name="connsiteY0-2" fmla="*/ 205995 h 3055519"/>
                  <a:gd name="connsiteX1-3" fmla="*/ 205995 w 1235948"/>
                  <a:gd name="connsiteY1-4" fmla="*/ 0 h 3055519"/>
                  <a:gd name="connsiteX2-5" fmla="*/ 1029953 w 1235948"/>
                  <a:gd name="connsiteY2-6" fmla="*/ 0 h 3055519"/>
                  <a:gd name="connsiteX3-7" fmla="*/ 1235948 w 1235948"/>
                  <a:gd name="connsiteY3-8" fmla="*/ 205995 h 3055519"/>
                  <a:gd name="connsiteX4-9" fmla="*/ 1235948 w 1235948"/>
                  <a:gd name="connsiteY4-10" fmla="*/ 2778365 h 3055519"/>
                  <a:gd name="connsiteX5-11" fmla="*/ 205995 w 1235948"/>
                  <a:gd name="connsiteY5-12" fmla="*/ 2984360 h 3055519"/>
                  <a:gd name="connsiteX6-13" fmla="*/ 0 w 1235948"/>
                  <a:gd name="connsiteY6-14" fmla="*/ 2778365 h 3055519"/>
                  <a:gd name="connsiteX7-15" fmla="*/ 0 w 1235948"/>
                  <a:gd name="connsiteY7-16" fmla="*/ 205995 h 3055519"/>
                  <a:gd name="connsiteX0-17" fmla="*/ 0 w 1235948"/>
                  <a:gd name="connsiteY0-18" fmla="*/ 205995 h 3099911"/>
                  <a:gd name="connsiteX1-19" fmla="*/ 205995 w 1235948"/>
                  <a:gd name="connsiteY1-20" fmla="*/ 0 h 3099911"/>
                  <a:gd name="connsiteX2-21" fmla="*/ 1029953 w 1235948"/>
                  <a:gd name="connsiteY2-22" fmla="*/ 0 h 3099911"/>
                  <a:gd name="connsiteX3-23" fmla="*/ 1235948 w 1235948"/>
                  <a:gd name="connsiteY3-24" fmla="*/ 205995 h 3099911"/>
                  <a:gd name="connsiteX4-25" fmla="*/ 1235948 w 1235948"/>
                  <a:gd name="connsiteY4-26" fmla="*/ 2778365 h 3099911"/>
                  <a:gd name="connsiteX5-27" fmla="*/ 0 w 1235948"/>
                  <a:gd name="connsiteY5-28" fmla="*/ 2778365 h 3099911"/>
                  <a:gd name="connsiteX6-29" fmla="*/ 0 w 1235948"/>
                  <a:gd name="connsiteY6-30" fmla="*/ 205995 h 3099911"/>
                  <a:gd name="connsiteX0-31" fmla="*/ 0 w 1237120"/>
                  <a:gd name="connsiteY0-32" fmla="*/ 205995 h 3099911"/>
                  <a:gd name="connsiteX1-33" fmla="*/ 205995 w 1237120"/>
                  <a:gd name="connsiteY1-34" fmla="*/ 0 h 3099911"/>
                  <a:gd name="connsiteX2-35" fmla="*/ 1029953 w 1237120"/>
                  <a:gd name="connsiteY2-36" fmla="*/ 0 h 3099911"/>
                  <a:gd name="connsiteX3-37" fmla="*/ 1235948 w 1237120"/>
                  <a:gd name="connsiteY3-38" fmla="*/ 205995 h 3099911"/>
                  <a:gd name="connsiteX4-39" fmla="*/ 1237120 w 1237120"/>
                  <a:gd name="connsiteY4-40" fmla="*/ 1429880 h 3099911"/>
                  <a:gd name="connsiteX5-41" fmla="*/ 1235948 w 1237120"/>
                  <a:gd name="connsiteY5-42" fmla="*/ 2778365 h 3099911"/>
                  <a:gd name="connsiteX6-43" fmla="*/ 0 w 1237120"/>
                  <a:gd name="connsiteY6-44" fmla="*/ 2778365 h 3099911"/>
                  <a:gd name="connsiteX7-45" fmla="*/ 0 w 1237120"/>
                  <a:gd name="connsiteY7-46" fmla="*/ 205995 h 3099911"/>
                  <a:gd name="connsiteX0-47" fmla="*/ 2400 w 1239520"/>
                  <a:gd name="connsiteY0-48" fmla="*/ 205995 h 3099911"/>
                  <a:gd name="connsiteX1-49" fmla="*/ 208395 w 1239520"/>
                  <a:gd name="connsiteY1-50" fmla="*/ 0 h 3099911"/>
                  <a:gd name="connsiteX2-51" fmla="*/ 1032353 w 1239520"/>
                  <a:gd name="connsiteY2-52" fmla="*/ 0 h 3099911"/>
                  <a:gd name="connsiteX3-53" fmla="*/ 1238348 w 1239520"/>
                  <a:gd name="connsiteY3-54" fmla="*/ 205995 h 3099911"/>
                  <a:gd name="connsiteX4-55" fmla="*/ 1239520 w 1239520"/>
                  <a:gd name="connsiteY4-56" fmla="*/ 1429880 h 3099911"/>
                  <a:gd name="connsiteX5-57" fmla="*/ 1238348 w 1239520"/>
                  <a:gd name="connsiteY5-58" fmla="*/ 2778365 h 3099911"/>
                  <a:gd name="connsiteX6-59" fmla="*/ 2400 w 1239520"/>
                  <a:gd name="connsiteY6-60" fmla="*/ 2778365 h 3099911"/>
                  <a:gd name="connsiteX7-61" fmla="*/ 0 w 1239520"/>
                  <a:gd name="connsiteY7-62" fmla="*/ 1942960 h 3099911"/>
                  <a:gd name="connsiteX8-63" fmla="*/ 2400 w 1239520"/>
                  <a:gd name="connsiteY8-64" fmla="*/ 205995 h 3099911"/>
                  <a:gd name="connsiteX0-65" fmla="*/ 2400 w 1239520"/>
                  <a:gd name="connsiteY0-66" fmla="*/ 205995 h 2788135"/>
                  <a:gd name="connsiteX1-67" fmla="*/ 208395 w 1239520"/>
                  <a:gd name="connsiteY1-68" fmla="*/ 0 h 2788135"/>
                  <a:gd name="connsiteX2-69" fmla="*/ 1032353 w 1239520"/>
                  <a:gd name="connsiteY2-70" fmla="*/ 0 h 2788135"/>
                  <a:gd name="connsiteX3-71" fmla="*/ 1238348 w 1239520"/>
                  <a:gd name="connsiteY3-72" fmla="*/ 205995 h 2788135"/>
                  <a:gd name="connsiteX4-73" fmla="*/ 1239520 w 1239520"/>
                  <a:gd name="connsiteY4-74" fmla="*/ 1429880 h 2788135"/>
                  <a:gd name="connsiteX5-75" fmla="*/ 1238348 w 1239520"/>
                  <a:gd name="connsiteY5-76" fmla="*/ 2778365 h 2788135"/>
                  <a:gd name="connsiteX6-77" fmla="*/ 0 w 1239520"/>
                  <a:gd name="connsiteY6-78" fmla="*/ 1942960 h 2788135"/>
                  <a:gd name="connsiteX7-79" fmla="*/ 2400 w 1239520"/>
                  <a:gd name="connsiteY7-80" fmla="*/ 205995 h 2788135"/>
                  <a:gd name="connsiteX0-81" fmla="*/ 2400 w 1873348"/>
                  <a:gd name="connsiteY0-82" fmla="*/ 205995 h 2983738"/>
                  <a:gd name="connsiteX1-83" fmla="*/ 208395 w 1873348"/>
                  <a:gd name="connsiteY1-84" fmla="*/ 0 h 2983738"/>
                  <a:gd name="connsiteX2-85" fmla="*/ 1032353 w 1873348"/>
                  <a:gd name="connsiteY2-86" fmla="*/ 0 h 2983738"/>
                  <a:gd name="connsiteX3-87" fmla="*/ 1238348 w 1873348"/>
                  <a:gd name="connsiteY3-88" fmla="*/ 205995 h 2983738"/>
                  <a:gd name="connsiteX4-89" fmla="*/ 1239520 w 1873348"/>
                  <a:gd name="connsiteY4-90" fmla="*/ 1429880 h 2983738"/>
                  <a:gd name="connsiteX5-91" fmla="*/ 1873348 w 1873348"/>
                  <a:gd name="connsiteY5-92" fmla="*/ 2976485 h 2983738"/>
                  <a:gd name="connsiteX6-93" fmla="*/ 0 w 1873348"/>
                  <a:gd name="connsiteY6-94" fmla="*/ 1942960 h 2983738"/>
                  <a:gd name="connsiteX7-95" fmla="*/ 2400 w 1873348"/>
                  <a:gd name="connsiteY7-96" fmla="*/ 205995 h 2983738"/>
                  <a:gd name="connsiteX0-97" fmla="*/ 2400 w 1873348"/>
                  <a:gd name="connsiteY0-98" fmla="*/ 205995 h 2980909"/>
                  <a:gd name="connsiteX1-99" fmla="*/ 208395 w 1873348"/>
                  <a:gd name="connsiteY1-100" fmla="*/ 0 h 2980909"/>
                  <a:gd name="connsiteX2-101" fmla="*/ 1032353 w 1873348"/>
                  <a:gd name="connsiteY2-102" fmla="*/ 0 h 2980909"/>
                  <a:gd name="connsiteX3-103" fmla="*/ 1238348 w 1873348"/>
                  <a:gd name="connsiteY3-104" fmla="*/ 205995 h 2980909"/>
                  <a:gd name="connsiteX4-105" fmla="*/ 1239520 w 1873348"/>
                  <a:gd name="connsiteY4-106" fmla="*/ 1429880 h 2980909"/>
                  <a:gd name="connsiteX5-107" fmla="*/ 1873348 w 1873348"/>
                  <a:gd name="connsiteY5-108" fmla="*/ 2976485 h 2980909"/>
                  <a:gd name="connsiteX6-109" fmla="*/ 0 w 1873348"/>
                  <a:gd name="connsiteY6-110" fmla="*/ 1942960 h 2980909"/>
                  <a:gd name="connsiteX7-111" fmla="*/ 2400 w 1873348"/>
                  <a:gd name="connsiteY7-112" fmla="*/ 205995 h 2980909"/>
                  <a:gd name="connsiteX0-113" fmla="*/ 2400 w 1873348"/>
                  <a:gd name="connsiteY0-114" fmla="*/ 205995 h 2980909"/>
                  <a:gd name="connsiteX1-115" fmla="*/ 208395 w 1873348"/>
                  <a:gd name="connsiteY1-116" fmla="*/ 0 h 2980909"/>
                  <a:gd name="connsiteX2-117" fmla="*/ 1032353 w 1873348"/>
                  <a:gd name="connsiteY2-118" fmla="*/ 0 h 2980909"/>
                  <a:gd name="connsiteX3-119" fmla="*/ 1238348 w 1873348"/>
                  <a:gd name="connsiteY3-120" fmla="*/ 205995 h 2980909"/>
                  <a:gd name="connsiteX4-121" fmla="*/ 1239520 w 1873348"/>
                  <a:gd name="connsiteY4-122" fmla="*/ 1429880 h 2980909"/>
                  <a:gd name="connsiteX5-123" fmla="*/ 1873348 w 1873348"/>
                  <a:gd name="connsiteY5-124" fmla="*/ 2976485 h 2980909"/>
                  <a:gd name="connsiteX6-125" fmla="*/ 0 w 1873348"/>
                  <a:gd name="connsiteY6-126" fmla="*/ 1942960 h 2980909"/>
                  <a:gd name="connsiteX7-127" fmla="*/ 2400 w 1873348"/>
                  <a:gd name="connsiteY7-128" fmla="*/ 205995 h 2980909"/>
                  <a:gd name="connsiteX0-129" fmla="*/ 2400 w 1873348"/>
                  <a:gd name="connsiteY0-130" fmla="*/ 205995 h 2980326"/>
                  <a:gd name="connsiteX1-131" fmla="*/ 208395 w 1873348"/>
                  <a:gd name="connsiteY1-132" fmla="*/ 0 h 2980326"/>
                  <a:gd name="connsiteX2-133" fmla="*/ 1032353 w 1873348"/>
                  <a:gd name="connsiteY2-134" fmla="*/ 0 h 2980326"/>
                  <a:gd name="connsiteX3-135" fmla="*/ 1238348 w 1873348"/>
                  <a:gd name="connsiteY3-136" fmla="*/ 205995 h 2980326"/>
                  <a:gd name="connsiteX4-137" fmla="*/ 1239520 w 1873348"/>
                  <a:gd name="connsiteY4-138" fmla="*/ 1429880 h 2980326"/>
                  <a:gd name="connsiteX5-139" fmla="*/ 1873348 w 1873348"/>
                  <a:gd name="connsiteY5-140" fmla="*/ 2976485 h 2980326"/>
                  <a:gd name="connsiteX6-141" fmla="*/ 0 w 1873348"/>
                  <a:gd name="connsiteY6-142" fmla="*/ 1942960 h 2980326"/>
                  <a:gd name="connsiteX7-143" fmla="*/ 2400 w 1873348"/>
                  <a:gd name="connsiteY7-144" fmla="*/ 205995 h 2980326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</a:cxnLst>
                <a:rect l="l" t="t" r="r" b="b"/>
                <a:pathLst>
                  <a:path w="1873348" h="2980326">
                    <a:moveTo>
                      <a:pt x="2400" y="205995"/>
                    </a:moveTo>
                    <a:cubicBezTo>
                      <a:pt x="2400" y="92227"/>
                      <a:pt x="94627" y="0"/>
                      <a:pt x="208395" y="0"/>
                    </a:cubicBezTo>
                    <a:lnTo>
                      <a:pt x="1032353" y="0"/>
                    </a:lnTo>
                    <a:cubicBezTo>
                      <a:pt x="1146121" y="0"/>
                      <a:pt x="1238348" y="92227"/>
                      <a:pt x="1238348" y="205995"/>
                    </a:cubicBezTo>
                    <a:cubicBezTo>
                      <a:pt x="1238739" y="613957"/>
                      <a:pt x="1239129" y="1021918"/>
                      <a:pt x="1239520" y="1429880"/>
                    </a:cubicBezTo>
                    <a:cubicBezTo>
                      <a:pt x="1239129" y="1879375"/>
                      <a:pt x="1187939" y="2907990"/>
                      <a:pt x="1873348" y="2976485"/>
                    </a:cubicBezTo>
                    <a:cubicBezTo>
                      <a:pt x="5601" y="3041678"/>
                      <a:pt x="23111" y="2259928"/>
                      <a:pt x="0" y="1942960"/>
                    </a:cubicBezTo>
                    <a:lnTo>
                      <a:pt x="2400" y="20599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 Light" panose="020B0502040204020203" charset="-122"/>
                  <a:ea typeface="微软雅黑 Light" panose="020B0502040204020203" charset="-122"/>
                  <a:cs typeface="+mn-cs"/>
                </a:endParaRPr>
              </a:p>
            </p:txBody>
          </p:sp>
          <p:sp>
            <p:nvSpPr>
              <p:cNvPr id="38" name="椭圆 37"/>
              <p:cNvSpPr/>
              <p:nvPr/>
            </p:nvSpPr>
            <p:spPr>
              <a:xfrm>
                <a:off x="4083952" y="2165760"/>
                <a:ext cx="1010013" cy="1010013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 Light" panose="020B0502040204020203" charset="-122"/>
                  <a:ea typeface="微软雅黑 Light" panose="020B0502040204020203" charset="-122"/>
                  <a:cs typeface="+mn-cs"/>
                </a:endParaRPr>
              </a:p>
            </p:txBody>
          </p:sp>
        </p:grpSp>
        <p:sp>
          <p:nvSpPr>
            <p:cNvPr id="40" name="矩形 39"/>
            <p:cNvSpPr/>
            <p:nvPr/>
          </p:nvSpPr>
          <p:spPr>
            <a:xfrm>
              <a:off x="1361" y="3340"/>
              <a:ext cx="3153" cy="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6858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Calibri Light" panose="020F0302020204030204"/>
                  <a:ea typeface="微软雅黑" panose="020B0503020204020204" charset="-122"/>
                  <a:cs typeface="+mn-ea"/>
                  <a:sym typeface="+mn-lt"/>
                </a:rPr>
                <a:t>落实常规、明确分工、清晰职责，共创信息科技学科组文化。</a:t>
              </a: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 Light" panose="020F0302020204030204"/>
                <a:ea typeface="微软雅黑" panose="020B0503020204020204" charset="-122"/>
                <a:cs typeface="+mn-ea"/>
                <a:sym typeface="+mn-lt"/>
              </a:endParaRPr>
            </a:p>
          </p:txBody>
        </p:sp>
        <p:sp>
          <p:nvSpPr>
            <p:cNvPr id="41" name="矩形 40"/>
            <p:cNvSpPr/>
            <p:nvPr/>
          </p:nvSpPr>
          <p:spPr>
            <a:xfrm>
              <a:off x="2482" y="2830"/>
              <a:ext cx="2031" cy="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  <a:sym typeface="+mn-lt"/>
                </a:rPr>
                <a:t>学科管理</a:t>
              </a:r>
              <a:endParaRPr lang="zh-CN" altLang="en-US" sz="20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lt"/>
              </a:endParaRPr>
            </a:p>
          </p:txBody>
        </p:sp>
        <p:sp>
          <p:nvSpPr>
            <p:cNvPr id="42" name="矩形 41"/>
            <p:cNvSpPr/>
            <p:nvPr/>
          </p:nvSpPr>
          <p:spPr>
            <a:xfrm>
              <a:off x="1243" y="5663"/>
              <a:ext cx="3270" cy="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Calibri Light" panose="020F0302020204030204"/>
                  <a:ea typeface="微软雅黑" panose="020B0503020204020204" charset="-122"/>
                  <a:cs typeface="+mn-ea"/>
                  <a:sym typeface="+mn-lt"/>
                </a:rPr>
                <a:t>   明确梯队发展目标，切实提升教师教科研能力。</a:t>
              </a: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 Light" panose="020F0302020204030204"/>
                <a:ea typeface="微软雅黑" panose="020B0503020204020204" charset="-122"/>
                <a:cs typeface="+mn-ea"/>
                <a:sym typeface="+mn-lt"/>
              </a:endParaRPr>
            </a:p>
          </p:txBody>
        </p:sp>
        <p:sp>
          <p:nvSpPr>
            <p:cNvPr id="43" name="矩形 42"/>
            <p:cNvSpPr/>
            <p:nvPr/>
          </p:nvSpPr>
          <p:spPr>
            <a:xfrm>
              <a:off x="2578" y="5116"/>
              <a:ext cx="1936" cy="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  <a:sym typeface="+mn-lt"/>
                </a:rPr>
                <a:t>教师发展</a:t>
              </a:r>
              <a:endParaRPr lang="zh-CN" altLang="en-US" sz="20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lt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8976" y="3181"/>
              <a:ext cx="4334" cy="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6858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Calibri Light" panose="020F0302020204030204"/>
                  <a:ea typeface="微软雅黑" panose="020B0503020204020204" charset="-122"/>
                  <a:cs typeface="+mn-ea"/>
                  <a:sym typeface="+mn-lt"/>
                </a:rPr>
                <a:t>     借力新优质，扎实基础课程落实，优化教研活动内容，加快促进信息科技新课标落地。</a:t>
              </a: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 Light" panose="020F0302020204030204"/>
                <a:ea typeface="微软雅黑" panose="020B0503020204020204" charset="-122"/>
                <a:cs typeface="+mn-ea"/>
                <a:sym typeface="+mn-lt"/>
              </a:endParaRPr>
            </a:p>
          </p:txBody>
        </p:sp>
        <p:sp>
          <p:nvSpPr>
            <p:cNvPr id="45" name="矩形 44"/>
            <p:cNvSpPr/>
            <p:nvPr/>
          </p:nvSpPr>
          <p:spPr>
            <a:xfrm>
              <a:off x="8976" y="2671"/>
              <a:ext cx="2154" cy="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  <a:sym typeface="+mn-lt"/>
                </a:rPr>
                <a:t>课程建设</a:t>
              </a:r>
              <a:endParaRPr lang="zh-CN" altLang="en-US" sz="20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lt"/>
              </a:endParaRPr>
            </a:p>
          </p:txBody>
        </p:sp>
        <p:sp>
          <p:nvSpPr>
            <p:cNvPr id="46" name="矩形 45"/>
            <p:cNvSpPr/>
            <p:nvPr/>
          </p:nvSpPr>
          <p:spPr>
            <a:xfrm>
              <a:off x="8976" y="5466"/>
              <a:ext cx="4093" cy="12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6858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Calibri Light" panose="020F0302020204030204"/>
                  <a:ea typeface="微软雅黑" panose="020B0503020204020204" charset="-122"/>
                  <a:cs typeface="+mn-ea"/>
                  <a:sym typeface="+mn-lt"/>
                </a:rPr>
                <a:t>    培养学生信息科技核心素养，日常课与社团课相结合，开展丰富的科技活动，促进学生的科技素养与创新能力的提高。</a:t>
              </a:r>
              <a:endParaRPr kumimoji="0" lang="en-US" altLang="zh-CN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 Light" panose="020F0302020204030204"/>
                <a:ea typeface="微软雅黑" panose="020B0503020204020204" charset="-122"/>
                <a:cs typeface="+mn-ea"/>
                <a:sym typeface="+mn-lt"/>
              </a:endParaRPr>
            </a:p>
          </p:txBody>
        </p:sp>
        <p:sp>
          <p:nvSpPr>
            <p:cNvPr id="47" name="矩形 46"/>
            <p:cNvSpPr/>
            <p:nvPr/>
          </p:nvSpPr>
          <p:spPr>
            <a:xfrm>
              <a:off x="9127" y="4970"/>
              <a:ext cx="2045" cy="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2000">
                  <a:solidFill>
                    <a:srgbClr val="51688A"/>
                  </a:solidFill>
                  <a:latin typeface="汉仪魏碑简" panose="02010600000101010101" charset="-128"/>
                  <a:ea typeface="汉仪魏碑简" panose="02010600000101010101" charset="-128"/>
                  <a:sym typeface="+mn-lt"/>
                </a:rPr>
                <a:t>学生发展</a:t>
              </a:r>
              <a:endParaRPr lang="zh-CN" altLang="en-US" sz="2000">
                <a:solidFill>
                  <a:srgbClr val="51688A"/>
                </a:solidFill>
                <a:latin typeface="汉仪魏碑简" panose="02010600000101010101" charset="-128"/>
                <a:ea typeface="汉仪魏碑简" panose="02010600000101010101" charset="-128"/>
                <a:sym typeface="+mn-lt"/>
              </a:endParaRPr>
            </a:p>
          </p:txBody>
        </p:sp>
        <p:sp>
          <p:nvSpPr>
            <p:cNvPr id="31" name="Freeform 5"/>
            <p:cNvSpPr>
              <a:spLocks noEditPoints="1"/>
            </p:cNvSpPr>
            <p:nvPr/>
          </p:nvSpPr>
          <p:spPr bwMode="auto">
            <a:xfrm>
              <a:off x="6383" y="4076"/>
              <a:ext cx="745" cy="862"/>
            </a:xfrm>
            <a:custGeom>
              <a:avLst/>
              <a:gdLst>
                <a:gd name="T0" fmla="*/ 544 w 666"/>
                <a:gd name="T1" fmla="*/ 103 h 771"/>
                <a:gd name="T2" fmla="*/ 478 w 666"/>
                <a:gd name="T3" fmla="*/ 103 h 771"/>
                <a:gd name="T4" fmla="*/ 478 w 666"/>
                <a:gd name="T5" fmla="*/ 83 h 771"/>
                <a:gd name="T6" fmla="*/ 417 w 666"/>
                <a:gd name="T7" fmla="*/ 83 h 771"/>
                <a:gd name="T8" fmla="*/ 324 w 666"/>
                <a:gd name="T9" fmla="*/ 0 h 771"/>
                <a:gd name="T10" fmla="*/ 229 w 666"/>
                <a:gd name="T11" fmla="*/ 83 h 771"/>
                <a:gd name="T12" fmla="*/ 168 w 666"/>
                <a:gd name="T13" fmla="*/ 83 h 771"/>
                <a:gd name="T14" fmla="*/ 168 w 666"/>
                <a:gd name="T15" fmla="*/ 103 h 771"/>
                <a:gd name="T16" fmla="*/ 122 w 666"/>
                <a:gd name="T17" fmla="*/ 103 h 771"/>
                <a:gd name="T18" fmla="*/ 0 w 666"/>
                <a:gd name="T19" fmla="*/ 223 h 771"/>
                <a:gd name="T20" fmla="*/ 0 w 666"/>
                <a:gd name="T21" fmla="*/ 648 h 771"/>
                <a:gd name="T22" fmla="*/ 122 w 666"/>
                <a:gd name="T23" fmla="*/ 771 h 771"/>
                <a:gd name="T24" fmla="*/ 544 w 666"/>
                <a:gd name="T25" fmla="*/ 771 h 771"/>
                <a:gd name="T26" fmla="*/ 666 w 666"/>
                <a:gd name="T27" fmla="*/ 648 h 771"/>
                <a:gd name="T28" fmla="*/ 666 w 666"/>
                <a:gd name="T29" fmla="*/ 223 h 771"/>
                <a:gd name="T30" fmla="*/ 544 w 666"/>
                <a:gd name="T31" fmla="*/ 103 h 771"/>
                <a:gd name="T32" fmla="*/ 270 w 666"/>
                <a:gd name="T33" fmla="*/ 123 h 771"/>
                <a:gd name="T34" fmla="*/ 270 w 666"/>
                <a:gd name="T35" fmla="*/ 98 h 771"/>
                <a:gd name="T36" fmla="*/ 324 w 666"/>
                <a:gd name="T37" fmla="*/ 41 h 771"/>
                <a:gd name="T38" fmla="*/ 374 w 666"/>
                <a:gd name="T39" fmla="*/ 98 h 771"/>
                <a:gd name="T40" fmla="*/ 374 w 666"/>
                <a:gd name="T41" fmla="*/ 123 h 771"/>
                <a:gd name="T42" fmla="*/ 437 w 666"/>
                <a:gd name="T43" fmla="*/ 123 h 771"/>
                <a:gd name="T44" fmla="*/ 437 w 666"/>
                <a:gd name="T45" fmla="*/ 228 h 771"/>
                <a:gd name="T46" fmla="*/ 207 w 666"/>
                <a:gd name="T47" fmla="*/ 228 h 771"/>
                <a:gd name="T48" fmla="*/ 207 w 666"/>
                <a:gd name="T49" fmla="*/ 123 h 771"/>
                <a:gd name="T50" fmla="*/ 270 w 666"/>
                <a:gd name="T51" fmla="*/ 123 h 771"/>
                <a:gd name="T52" fmla="*/ 507 w 666"/>
                <a:gd name="T53" fmla="*/ 304 h 771"/>
                <a:gd name="T54" fmla="*/ 476 w 666"/>
                <a:gd name="T55" fmla="*/ 311 h 771"/>
                <a:gd name="T56" fmla="*/ 476 w 666"/>
                <a:gd name="T57" fmla="*/ 311 h 771"/>
                <a:gd name="T58" fmla="*/ 315 w 666"/>
                <a:gd name="T59" fmla="*/ 565 h 771"/>
                <a:gd name="T60" fmla="*/ 210 w 666"/>
                <a:gd name="T61" fmla="*/ 480 h 771"/>
                <a:gd name="T62" fmla="*/ 179 w 666"/>
                <a:gd name="T63" fmla="*/ 484 h 771"/>
                <a:gd name="T64" fmla="*/ 179 w 666"/>
                <a:gd name="T65" fmla="*/ 484 h 771"/>
                <a:gd name="T66" fmla="*/ 182 w 666"/>
                <a:gd name="T67" fmla="*/ 516 h 771"/>
                <a:gd name="T68" fmla="*/ 307 w 666"/>
                <a:gd name="T69" fmla="*/ 616 h 771"/>
                <a:gd name="T70" fmla="*/ 338 w 666"/>
                <a:gd name="T71" fmla="*/ 612 h 771"/>
                <a:gd name="T72" fmla="*/ 339 w 666"/>
                <a:gd name="T73" fmla="*/ 610 h 771"/>
                <a:gd name="T74" fmla="*/ 514 w 666"/>
                <a:gd name="T75" fmla="*/ 335 h 771"/>
                <a:gd name="T76" fmla="*/ 507 w 666"/>
                <a:gd name="T77" fmla="*/ 304 h 771"/>
                <a:gd name="T78" fmla="*/ 624 w 666"/>
                <a:gd name="T79" fmla="*/ 648 h 771"/>
                <a:gd name="T80" fmla="*/ 544 w 666"/>
                <a:gd name="T81" fmla="*/ 729 h 771"/>
                <a:gd name="T82" fmla="*/ 122 w 666"/>
                <a:gd name="T83" fmla="*/ 729 h 771"/>
                <a:gd name="T84" fmla="*/ 39 w 666"/>
                <a:gd name="T85" fmla="*/ 648 h 771"/>
                <a:gd name="T86" fmla="*/ 39 w 666"/>
                <a:gd name="T87" fmla="*/ 223 h 771"/>
                <a:gd name="T88" fmla="*/ 122 w 666"/>
                <a:gd name="T89" fmla="*/ 145 h 771"/>
                <a:gd name="T90" fmla="*/ 168 w 666"/>
                <a:gd name="T91" fmla="*/ 145 h 771"/>
                <a:gd name="T92" fmla="*/ 168 w 666"/>
                <a:gd name="T93" fmla="*/ 270 h 771"/>
                <a:gd name="T94" fmla="*/ 478 w 666"/>
                <a:gd name="T95" fmla="*/ 270 h 771"/>
                <a:gd name="T96" fmla="*/ 478 w 666"/>
                <a:gd name="T97" fmla="*/ 145 h 771"/>
                <a:gd name="T98" fmla="*/ 544 w 666"/>
                <a:gd name="T99" fmla="*/ 145 h 771"/>
                <a:gd name="T100" fmla="*/ 624 w 666"/>
                <a:gd name="T101" fmla="*/ 223 h 771"/>
                <a:gd name="T102" fmla="*/ 624 w 666"/>
                <a:gd name="T103" fmla="*/ 648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66" h="771">
                  <a:moveTo>
                    <a:pt x="544" y="103"/>
                  </a:moveTo>
                  <a:cubicBezTo>
                    <a:pt x="478" y="103"/>
                    <a:pt x="478" y="103"/>
                    <a:pt x="478" y="103"/>
                  </a:cubicBezTo>
                  <a:cubicBezTo>
                    <a:pt x="478" y="83"/>
                    <a:pt x="478" y="83"/>
                    <a:pt x="478" y="83"/>
                  </a:cubicBezTo>
                  <a:cubicBezTo>
                    <a:pt x="417" y="83"/>
                    <a:pt x="417" y="83"/>
                    <a:pt x="417" y="83"/>
                  </a:cubicBezTo>
                  <a:cubicBezTo>
                    <a:pt x="407" y="40"/>
                    <a:pt x="370" y="0"/>
                    <a:pt x="324" y="0"/>
                  </a:cubicBezTo>
                  <a:cubicBezTo>
                    <a:pt x="278" y="0"/>
                    <a:pt x="239" y="40"/>
                    <a:pt x="229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54" y="103"/>
                    <a:pt x="0" y="155"/>
                    <a:pt x="0" y="223"/>
                  </a:cubicBezTo>
                  <a:cubicBezTo>
                    <a:pt x="0" y="648"/>
                    <a:pt x="0" y="648"/>
                    <a:pt x="0" y="648"/>
                  </a:cubicBezTo>
                  <a:cubicBezTo>
                    <a:pt x="0" y="716"/>
                    <a:pt x="54" y="771"/>
                    <a:pt x="122" y="771"/>
                  </a:cubicBezTo>
                  <a:cubicBezTo>
                    <a:pt x="544" y="771"/>
                    <a:pt x="544" y="771"/>
                    <a:pt x="544" y="771"/>
                  </a:cubicBezTo>
                  <a:cubicBezTo>
                    <a:pt x="612" y="771"/>
                    <a:pt x="666" y="716"/>
                    <a:pt x="666" y="648"/>
                  </a:cubicBezTo>
                  <a:cubicBezTo>
                    <a:pt x="666" y="223"/>
                    <a:pt x="666" y="223"/>
                    <a:pt x="666" y="223"/>
                  </a:cubicBezTo>
                  <a:cubicBezTo>
                    <a:pt x="666" y="155"/>
                    <a:pt x="612" y="103"/>
                    <a:pt x="544" y="103"/>
                  </a:cubicBezTo>
                  <a:close/>
                  <a:moveTo>
                    <a:pt x="270" y="123"/>
                  </a:moveTo>
                  <a:cubicBezTo>
                    <a:pt x="270" y="98"/>
                    <a:pt x="270" y="98"/>
                    <a:pt x="270" y="98"/>
                  </a:cubicBezTo>
                  <a:cubicBezTo>
                    <a:pt x="270" y="69"/>
                    <a:pt x="295" y="41"/>
                    <a:pt x="324" y="41"/>
                  </a:cubicBezTo>
                  <a:cubicBezTo>
                    <a:pt x="353" y="41"/>
                    <a:pt x="374" y="69"/>
                    <a:pt x="374" y="98"/>
                  </a:cubicBezTo>
                  <a:cubicBezTo>
                    <a:pt x="374" y="123"/>
                    <a:pt x="374" y="123"/>
                    <a:pt x="374" y="123"/>
                  </a:cubicBezTo>
                  <a:cubicBezTo>
                    <a:pt x="437" y="123"/>
                    <a:pt x="437" y="123"/>
                    <a:pt x="437" y="123"/>
                  </a:cubicBezTo>
                  <a:cubicBezTo>
                    <a:pt x="437" y="228"/>
                    <a:pt x="437" y="228"/>
                    <a:pt x="437" y="228"/>
                  </a:cubicBezTo>
                  <a:cubicBezTo>
                    <a:pt x="207" y="228"/>
                    <a:pt x="207" y="228"/>
                    <a:pt x="207" y="228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70" y="123"/>
                    <a:pt x="270" y="123"/>
                    <a:pt x="270" y="123"/>
                  </a:cubicBezTo>
                  <a:close/>
                  <a:moveTo>
                    <a:pt x="507" y="304"/>
                  </a:moveTo>
                  <a:cubicBezTo>
                    <a:pt x="496" y="297"/>
                    <a:pt x="483" y="300"/>
                    <a:pt x="476" y="311"/>
                  </a:cubicBezTo>
                  <a:cubicBezTo>
                    <a:pt x="476" y="311"/>
                    <a:pt x="476" y="311"/>
                    <a:pt x="476" y="311"/>
                  </a:cubicBezTo>
                  <a:cubicBezTo>
                    <a:pt x="315" y="565"/>
                    <a:pt x="315" y="565"/>
                    <a:pt x="315" y="565"/>
                  </a:cubicBezTo>
                  <a:cubicBezTo>
                    <a:pt x="210" y="480"/>
                    <a:pt x="210" y="480"/>
                    <a:pt x="210" y="480"/>
                  </a:cubicBezTo>
                  <a:cubicBezTo>
                    <a:pt x="201" y="473"/>
                    <a:pt x="187" y="474"/>
                    <a:pt x="179" y="484"/>
                  </a:cubicBezTo>
                  <a:cubicBezTo>
                    <a:pt x="179" y="484"/>
                    <a:pt x="179" y="484"/>
                    <a:pt x="179" y="484"/>
                  </a:cubicBezTo>
                  <a:cubicBezTo>
                    <a:pt x="171" y="494"/>
                    <a:pt x="173" y="508"/>
                    <a:pt x="182" y="516"/>
                  </a:cubicBezTo>
                  <a:cubicBezTo>
                    <a:pt x="307" y="616"/>
                    <a:pt x="307" y="616"/>
                    <a:pt x="307" y="616"/>
                  </a:cubicBezTo>
                  <a:cubicBezTo>
                    <a:pt x="316" y="623"/>
                    <a:pt x="330" y="622"/>
                    <a:pt x="338" y="612"/>
                  </a:cubicBezTo>
                  <a:cubicBezTo>
                    <a:pt x="338" y="612"/>
                    <a:pt x="339" y="611"/>
                    <a:pt x="339" y="610"/>
                  </a:cubicBezTo>
                  <a:cubicBezTo>
                    <a:pt x="514" y="335"/>
                    <a:pt x="514" y="335"/>
                    <a:pt x="514" y="335"/>
                  </a:cubicBezTo>
                  <a:cubicBezTo>
                    <a:pt x="520" y="324"/>
                    <a:pt x="517" y="311"/>
                    <a:pt x="507" y="304"/>
                  </a:cubicBezTo>
                  <a:close/>
                  <a:moveTo>
                    <a:pt x="624" y="648"/>
                  </a:moveTo>
                  <a:cubicBezTo>
                    <a:pt x="624" y="691"/>
                    <a:pt x="587" y="729"/>
                    <a:pt x="544" y="729"/>
                  </a:cubicBezTo>
                  <a:cubicBezTo>
                    <a:pt x="122" y="729"/>
                    <a:pt x="122" y="729"/>
                    <a:pt x="122" y="729"/>
                  </a:cubicBezTo>
                  <a:cubicBezTo>
                    <a:pt x="79" y="729"/>
                    <a:pt x="39" y="691"/>
                    <a:pt x="39" y="648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39" y="180"/>
                    <a:pt x="79" y="145"/>
                    <a:pt x="122" y="145"/>
                  </a:cubicBezTo>
                  <a:cubicBezTo>
                    <a:pt x="168" y="145"/>
                    <a:pt x="168" y="145"/>
                    <a:pt x="168" y="145"/>
                  </a:cubicBezTo>
                  <a:cubicBezTo>
                    <a:pt x="168" y="270"/>
                    <a:pt x="168" y="270"/>
                    <a:pt x="168" y="270"/>
                  </a:cubicBezTo>
                  <a:cubicBezTo>
                    <a:pt x="478" y="270"/>
                    <a:pt x="478" y="270"/>
                    <a:pt x="478" y="270"/>
                  </a:cubicBezTo>
                  <a:cubicBezTo>
                    <a:pt x="478" y="145"/>
                    <a:pt x="478" y="145"/>
                    <a:pt x="478" y="145"/>
                  </a:cubicBezTo>
                  <a:cubicBezTo>
                    <a:pt x="544" y="145"/>
                    <a:pt x="544" y="145"/>
                    <a:pt x="544" y="145"/>
                  </a:cubicBezTo>
                  <a:cubicBezTo>
                    <a:pt x="587" y="145"/>
                    <a:pt x="624" y="180"/>
                    <a:pt x="624" y="223"/>
                  </a:cubicBezTo>
                  <a:cubicBezTo>
                    <a:pt x="624" y="648"/>
                    <a:pt x="624" y="648"/>
                    <a:pt x="624" y="6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" name="图片 1" descr="32313539373837383b32313539373837303bb5b3d4b1bbeeb6afcad2"/>
            <p:cNvPicPr>
              <a:picLocks noChangeAspect="1"/>
            </p:cNvPicPr>
            <p:nvPr/>
          </p:nvPicPr>
          <p:blipFill>
            <a:blip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  <a:stretch>
              <a:fillRect/>
            </a:stretch>
          </p:blipFill>
          <p:spPr>
            <a:xfrm>
              <a:off x="4947" y="2712"/>
              <a:ext cx="770" cy="770"/>
            </a:xfrm>
            <a:prstGeom prst="rect">
              <a:avLst/>
            </a:prstGeom>
          </p:spPr>
        </p:pic>
        <p:pic>
          <p:nvPicPr>
            <p:cNvPr id="3" name="图片 2" descr="32313539373837383b32313539373836363bb5b3d4b1d0c5cfa2"/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892" y="5516"/>
              <a:ext cx="770" cy="770"/>
            </a:xfrm>
            <a:prstGeom prst="rect">
              <a:avLst/>
            </a:prstGeom>
          </p:spPr>
        </p:pic>
        <p:pic>
          <p:nvPicPr>
            <p:cNvPr id="4" name="图片 3" descr="32313539373837383b32313539373837333bb5b3d4b1bfbcbacb"/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12" y="5626"/>
              <a:ext cx="770" cy="770"/>
            </a:xfrm>
            <a:prstGeom prst="rect">
              <a:avLst/>
            </a:prstGeom>
          </p:spPr>
        </p:pic>
        <p:pic>
          <p:nvPicPr>
            <p:cNvPr id="5" name="图片 4" descr="32313539373837383b32313539373837343bc8ebb5b3bfbccad4"/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870" y="2671"/>
              <a:ext cx="770" cy="770"/>
            </a:xfrm>
            <a:prstGeom prst="rect">
              <a:avLst/>
            </a:prstGeom>
          </p:spPr>
        </p:pic>
      </p:grpSp>
      <p:pic>
        <p:nvPicPr>
          <p:cNvPr id="28" name="图片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37450" y="3723640"/>
            <a:ext cx="1964055" cy="1964055"/>
          </a:xfrm>
          <a:prstGeom prst="rect">
            <a:avLst/>
          </a:prstGeom>
        </p:spPr>
      </p:pic>
      <p:pic>
        <p:nvPicPr>
          <p:cNvPr id="8" name="图片 7" descr="logo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-64770"/>
            <a:ext cx="998220" cy="9067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fill="hold" nodeType="tmRoot"/>
      </p:par>
    </p:tnLst>
  </p:timing>
</p:sld>
</file>

<file path=ppt/tags/tag1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4_2"/>
  <p:tag name="KSO_WM_UNIT_ID" val="diagram20222197_1*q_h_i*1_4_2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TEXT_FILL_FORE_SCHEMECOLOR_INDEX" val="14"/>
  <p:tag name="KSO_WM_UNIT_TEXT_FILL_TYPE" val="1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3_2"/>
  <p:tag name="KSO_WM_UNIT_ID" val="diagram20222197_1*q_h_i*1_3_2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TEXT_FILL_FORE_SCHEMECOLOR_INDEX" val="14"/>
  <p:tag name="KSO_WM_UNIT_TEXT_FILL_TYPE" val="1"/>
</p:tagLst>
</file>

<file path=ppt/tags/tag12.xml><?xml version="1.0" encoding="utf-8"?>
<p:tagLst xmlns:p="http://schemas.openxmlformats.org/presentationml/2006/main">
  <p:tag name="KSO_WM_TEMPLATE_CATEGORY" val="diagram"/>
  <p:tag name="KSO_WM_TEMPLATE_INDEX" val="20185780"/>
  <p:tag name="KSO_WM_TAG_VERSION" val="1.0"/>
  <p:tag name="KSO_WM_BEAUTIFY_FLAG" val="#wm#"/>
  <p:tag name="KSO_WM_UNIT_TYPE" val="q_h_g"/>
  <p:tag name="KSO_WM_UNIT_INDEX" val="1_1_1"/>
  <p:tag name="KSO_WM_UNIT_ID" val="diagram20185780_4*q_h_g*1_1_1"/>
  <p:tag name="KSO_WM_UNIT_LAYERLEVEL" val="1_1_1"/>
  <p:tag name="KSO_WM_UNIT_VALUE" val="9"/>
  <p:tag name="KSO_WM_UNIT_HIGHLIGHT" val="0"/>
  <p:tag name="KSO_WM_UNIT_COMPATIBLE" val="1"/>
  <p:tag name="KSO_WM_UNIT_CLEAR" val="0"/>
  <p:tag name="KSO_WM_UNIT_PRESET_TEXT_INDEX" val="3"/>
  <p:tag name="KSO_WM_UNIT_RELATE_UNITID" val="diagram20185780_4*q_h_f*1_1_1"/>
  <p:tag name="KSO_WM_UNIT_PRESET_TEXT_LEN" val="5"/>
  <p:tag name="KSO_WM_DIAGRAM_GROUP_CODE" val="q1-1"/>
  <p:tag name="KSO_WM_UNIT_FILL_FORE_SCHEMECOLOR_INDEX" val="5"/>
  <p:tag name="KSO_WM_UNIT_FILL_TYPE" val="1"/>
  <p:tag name="KSO_WM_UNIT_LINE_FORE_SCHEMECOLOR_INDEX" val="2"/>
  <p:tag name="KSO_WM_UNIT_LINE_FILL_TYPE" val="2"/>
  <p:tag name="KSO_WM_UNIT_TEXT_FILL_FORE_SCHEMECOLOR_INDEX" val="14"/>
  <p:tag name="KSO_WM_UNIT_TEXT_FILL_TYPE" val="1"/>
</p:tagLst>
</file>

<file path=ppt/tags/tag13.xml><?xml version="1.0" encoding="utf-8"?>
<p:tagLst xmlns:p="http://schemas.openxmlformats.org/presentationml/2006/main">
  <p:tag name="KSO_WM_TEMPLATE_CATEGORY" val="diagram"/>
  <p:tag name="KSO_WM_TEMPLATE_INDEX" val="20185780"/>
  <p:tag name="KSO_WM_TAG_VERSION" val="1.0"/>
  <p:tag name="KSO_WM_BEAUTIFY_FLAG" val="#wm#"/>
  <p:tag name="KSO_WM_UNIT_TYPE" val="q_h_g"/>
  <p:tag name="KSO_WM_UNIT_INDEX" val="1_2_1"/>
  <p:tag name="KSO_WM_UNIT_ID" val="diagram20185780_4*q_h_g*1_2_1"/>
  <p:tag name="KSO_WM_UNIT_LAYERLEVEL" val="1_1_1"/>
  <p:tag name="KSO_WM_UNIT_VALUE" val="9"/>
  <p:tag name="KSO_WM_UNIT_HIGHLIGHT" val="0"/>
  <p:tag name="KSO_WM_UNIT_COMPATIBLE" val="1"/>
  <p:tag name="KSO_WM_UNIT_CLEAR" val="0"/>
  <p:tag name="KSO_WM_UNIT_PRESET_TEXT_INDEX" val="3"/>
  <p:tag name="KSO_WM_UNIT_RELATE_UNITID" val="diagram20185780_4*q_h_f*1_2_1"/>
  <p:tag name="KSO_WM_UNIT_PRESET_TEXT_LEN" val="5"/>
  <p:tag name="KSO_WM_DIAGRAM_GROUP_CODE" val="q1-1"/>
  <p:tag name="KSO_WM_UNIT_FILL_FORE_SCHEMECOLOR_INDEX" val="9"/>
  <p:tag name="KSO_WM_UNIT_FILL_TYPE" val="1"/>
  <p:tag name="KSO_WM_UNIT_LINE_FORE_SCHEMECOLOR_INDEX" val="2"/>
  <p:tag name="KSO_WM_UNIT_LINE_FILL_TYPE" val="2"/>
  <p:tag name="KSO_WM_UNIT_TEXT_FILL_FORE_SCHEMECOLOR_INDEX" val="14"/>
  <p:tag name="KSO_WM_UNIT_TEXT_FILL_TYPE" val="1"/>
</p:tagLst>
</file>

<file path=ppt/tags/tag14.xml><?xml version="1.0" encoding="utf-8"?>
<p:tagLst xmlns:p="http://schemas.openxmlformats.org/presentationml/2006/main">
  <p:tag name="KSO_WM_TEMPLATE_CATEGORY" val="diagram"/>
  <p:tag name="KSO_WM_TEMPLATE_INDEX" val="20185780"/>
  <p:tag name="KSO_WM_TAG_VERSION" val="1.0"/>
  <p:tag name="KSO_WM_BEAUTIFY_FLAG" val="#wm#"/>
  <p:tag name="KSO_WM_UNIT_TYPE" val="q_h_g"/>
  <p:tag name="KSO_WM_UNIT_INDEX" val="1_3_1"/>
  <p:tag name="KSO_WM_UNIT_ID" val="diagram20185780_4*q_h_g*1_3_1"/>
  <p:tag name="KSO_WM_UNIT_LAYERLEVEL" val="1_1_1"/>
  <p:tag name="KSO_WM_UNIT_VALUE" val="9"/>
  <p:tag name="KSO_WM_UNIT_HIGHLIGHT" val="0"/>
  <p:tag name="KSO_WM_UNIT_COMPATIBLE" val="1"/>
  <p:tag name="KSO_WM_UNIT_CLEAR" val="0"/>
  <p:tag name="KSO_WM_UNIT_PRESET_TEXT_INDEX" val="3"/>
  <p:tag name="KSO_WM_UNIT_RELATE_UNITID" val="diagram20185780_4*q_h_f*1_3_1"/>
  <p:tag name="KSO_WM_UNIT_PRESET_TEXT_LEN" val="5"/>
  <p:tag name="KSO_WM_DIAGRAM_GROUP_CODE" val="q1-1"/>
  <p:tag name="KSO_WM_UNIT_FILL_FORE_SCHEMECOLOR_INDEX" val="7"/>
  <p:tag name="KSO_WM_UNIT_FILL_TYPE" val="1"/>
  <p:tag name="KSO_WM_UNIT_LINE_FORE_SCHEMECOLOR_INDEX" val="2"/>
  <p:tag name="KSO_WM_UNIT_LINE_FILL_TYPE" val="2"/>
  <p:tag name="KSO_WM_UNIT_TEXT_FILL_FORE_SCHEMECOLOR_INDEX" val="14"/>
  <p:tag name="KSO_WM_UNIT_TEXT_FILL_TYPE" val="1"/>
</p:tagLst>
</file>

<file path=ppt/tags/tag15.xml><?xml version="1.0" encoding="utf-8"?>
<p:tagLst xmlns:p="http://schemas.openxmlformats.org/presentationml/2006/main">
  <p:tag name="KSO_WM_TEMPLATE_CATEGORY" val="diagram"/>
  <p:tag name="KSO_WM_TEMPLATE_INDEX" val="20185780"/>
  <p:tag name="KSO_WM_TAG_VERSION" val="1.0"/>
  <p:tag name="KSO_WM_BEAUTIFY_FLAG" val="#wm#"/>
  <p:tag name="KSO_WM_UNIT_TYPE" val="q_h_g"/>
  <p:tag name="KSO_WM_UNIT_INDEX" val="1_4_1"/>
  <p:tag name="KSO_WM_UNIT_ID" val="diagram20185780_4*q_h_g*1_4_1"/>
  <p:tag name="KSO_WM_UNIT_LAYERLEVEL" val="1_1_1"/>
  <p:tag name="KSO_WM_UNIT_VALUE" val="9"/>
  <p:tag name="KSO_WM_UNIT_HIGHLIGHT" val="0"/>
  <p:tag name="KSO_WM_UNIT_COMPATIBLE" val="1"/>
  <p:tag name="KSO_WM_UNIT_CLEAR" val="0"/>
  <p:tag name="KSO_WM_UNIT_PRESET_TEXT_INDEX" val="3"/>
  <p:tag name="KSO_WM_UNIT_RELATE_UNITID" val="diagram20185780_4*q_h_f*1_4_1"/>
  <p:tag name="KSO_WM_UNIT_PRESET_TEXT_LEN" val="5"/>
  <p:tag name="KSO_WM_DIAGRAM_GROUP_CODE" val="q1-1"/>
  <p:tag name="KSO_WM_UNIT_FILL_FORE_SCHEMECOLOR_INDEX" val="8"/>
  <p:tag name="KSO_WM_UNIT_FILL_TYPE" val="1"/>
  <p:tag name="KSO_WM_UNIT_LINE_FORE_SCHEMECOLOR_INDEX" val="2"/>
  <p:tag name="KSO_WM_UNIT_LINE_FILL_TYPE" val="2"/>
  <p:tag name="KSO_WM_UNIT_TEXT_FILL_FORE_SCHEMECOLOR_INDEX" val="14"/>
  <p:tag name="KSO_WM_UNIT_TEXT_FILL_TYPE" val="1"/>
</p:tagLst>
</file>

<file path=ppt/tags/tag16.xml><?xml version="1.0" encoding="utf-8"?>
<p:tagLst xmlns:p="http://schemas.openxmlformats.org/presentationml/2006/main">
  <p:tag name="KSO_WM_TEMPLATE_CATEGORY" val="diagram"/>
  <p:tag name="KSO_WM_TEMPLATE_INDEX" val="20185780"/>
  <p:tag name="KSO_WM_TAG_VERSION" val="1.0"/>
  <p:tag name="KSO_WM_BEAUTIFY_FLAG" val="#wm#"/>
  <p:tag name="KSO_WM_UNIT_TYPE" val="q_h_g"/>
  <p:tag name="KSO_WM_UNIT_INDEX" val="1_5_1"/>
  <p:tag name="KSO_WM_UNIT_ID" val="diagram20185780_4*q_h_g*1_5_1"/>
  <p:tag name="KSO_WM_UNIT_LAYERLEVEL" val="1_1_1"/>
  <p:tag name="KSO_WM_UNIT_VALUE" val="9"/>
  <p:tag name="KSO_WM_UNIT_HIGHLIGHT" val="0"/>
  <p:tag name="KSO_WM_UNIT_COMPATIBLE" val="1"/>
  <p:tag name="KSO_WM_UNIT_CLEAR" val="0"/>
  <p:tag name="KSO_WM_UNIT_PRESET_TEXT_INDEX" val="3"/>
  <p:tag name="KSO_WM_UNIT_RELATE_UNITID" val="diagram20185780_4*q_h_f*1_5_1"/>
  <p:tag name="KSO_WM_UNIT_PRESET_TEXT_LEN" val="5"/>
  <p:tag name="KSO_WM_DIAGRAM_GROUP_CODE" val="q1-1"/>
  <p:tag name="KSO_WM_UNIT_FILL_FORE_SCHEMECOLOR_INDEX" val="6"/>
  <p:tag name="KSO_WM_UNIT_FILL_TYPE" val="1"/>
  <p:tag name="KSO_WM_UNIT_LINE_FORE_SCHEMECOLOR_INDEX" val="2"/>
  <p:tag name="KSO_WM_UNIT_LINE_FILL_TYPE" val="2"/>
  <p:tag name="KSO_WM_UNIT_TEXT_FILL_FORE_SCHEMECOLOR_INDEX" val="14"/>
  <p:tag name="KSO_WM_UNIT_TEXT_FILL_TYPE" val="1"/>
</p:tagLst>
</file>

<file path=ppt/tags/tag17.xml><?xml version="1.0" encoding="utf-8"?>
<p:tagLst xmlns:p="http://schemas.openxmlformats.org/presentationml/2006/main">
  <p:tag name="KSO_WM_UNIT_PLACING_PICTURE_USER_VIEWPORT" val="{&quot;height&quot;:3549.7685039370076,&quot;width&quot;:4733.023622047244}"/>
</p:tagLst>
</file>

<file path=ppt/tags/tag18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1_2"/>
  <p:tag name="KSO_WM_UNIT_ID" val="diagram20169953_2*q_h_i*1_1_2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2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20.xml><?xml version="1.0" encoding="utf-8"?>
<p:tagLst xmlns:p="http://schemas.openxmlformats.org/presentationml/2006/main">
  <p:tag name="KSO_WM_UNIT_VALUE" val="130*129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x"/>
  <p:tag name="KSO_WM_UNIT_INDEX" val="1_1_1"/>
  <p:tag name="KSO_WM_UNIT_ID" val="diagram20169953_2*q_h_x*1_1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3_2"/>
  <p:tag name="KSO_WM_UNIT_ID" val="diagram20169953_2*q_h_i*1_3_2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3"/>
  <p:tag name="KSO_WM_UNIT_TEXT_FILL_TYPE" val="1"/>
</p:tagLst>
</file>

<file path=ppt/tags/tag22.xml><?xml version="1.0" encoding="utf-8"?>
<p:tagLst xmlns:p="http://schemas.openxmlformats.org/presentationml/2006/main">
  <p:tag name="KSO_WM_UNIT_VALUE" val="130*102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x"/>
  <p:tag name="KSO_WM_UNIT_INDEX" val="1_3_1"/>
  <p:tag name="KSO_WM_UNIT_ID" val="diagram20169953_2*q_h_x*1_3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2_2"/>
  <p:tag name="KSO_WM_UNIT_ID" val="diagram20169953_2*q_h_i*1_2_2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24.xml><?xml version="1.0" encoding="utf-8"?>
<p:tagLst xmlns:p="http://schemas.openxmlformats.org/presentationml/2006/main">
  <p:tag name="KSO_WM_UNIT_VALUE" val="126*106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x"/>
  <p:tag name="KSO_WM_UNIT_INDEX" val="1_2_1"/>
  <p:tag name="KSO_WM_UNIT_ID" val="diagram20169953_2*q_h_x*1_2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FILL_FORE_SCHEMECOLOR_INDEX" val="14"/>
  <p:tag name="KSO_WM_UNIT_FILL_TYPE" val="1"/>
  <p:tag name="KSO_WM_UNIT_TEXT_FILL_FORE_SCHEMECOLOR_INDEX" val="13"/>
  <p:tag name="KSO_WM_UNIT_TEXT_FILL_TYPE" val="1"/>
</p:tagLst>
</file>

<file path=ppt/tags/tag25.xml><?xml version="1.0" encoding="utf-8"?>
<p:tagLst xmlns:p="http://schemas.openxmlformats.org/presentationml/2006/main">
  <p:tag name="KSO_WM_UNIT_SUBTYPE" val="a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1_1"/>
  <p:tag name="KSO_WM_UNIT_ID" val="diagram20169953_2*q_h_f*1_1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PRESET_TEXT" val="点击添加正文，为了演示发布的效果，请您简单的阐述您的观点"/>
  <p:tag name="KSO_WM_UNIT_TEXT_FILL_FORE_SCHEMECOLOR_INDEX" val="13"/>
  <p:tag name="KSO_WM_UNIT_TEXT_FILL_TYPE" val="1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1_1"/>
  <p:tag name="KSO_WM_UNIT_ID" val="diagram20169953_2*q_h_i*1_1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TEXT_FILL_FORE_SCHEMECOLOR_INDEX" val="5"/>
  <p:tag name="KSO_WM_UNIT_TEXT_FILL_TYPE" val="1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2_1"/>
  <p:tag name="KSO_WM_UNIT_ID" val="diagram20169953_2*q_h_i*1_2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TEXT_FILL_FORE_SCHEMECOLOR_INDEX" val="6"/>
  <p:tag name="KSO_WM_UNIT_TEXT_FILL_TYPE" val="1"/>
</p:tagLst>
</file>

<file path=ppt/tags/tag28.xml><?xml version="1.0" encoding="utf-8"?>
<p:tagLst xmlns:p="http://schemas.openxmlformats.org/presentationml/2006/main">
  <p:tag name="KSO_WM_UNIT_SUBTYPE" val="a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2_1"/>
  <p:tag name="KSO_WM_UNIT_ID" val="diagram20169953_2*q_h_f*1_2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PRESET_TEXT" val="点击添加正文，为了演示发布的效果，请您简单的阐述您的观点"/>
  <p:tag name="KSO_WM_UNIT_TEXT_FILL_FORE_SCHEMECOLOR_INDEX" val="13"/>
  <p:tag name="KSO_WM_UNIT_TEXT_FILL_TYPE" val="1"/>
</p:tagLst>
</file>

<file path=ppt/tags/tag29.xml><?xml version="1.0" encoding="utf-8"?>
<p:tagLst xmlns:p="http://schemas.openxmlformats.org/presentationml/2006/main">
  <p:tag name="KSO_WM_UNIT_SUBTYPE" val="a"/>
  <p:tag name="KSO_WM_UNIT_NOCLEAR" val="0"/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f"/>
  <p:tag name="KSO_WM_UNIT_INDEX" val="1_3_1"/>
  <p:tag name="KSO_WM_UNIT_ID" val="diagram20169953_2*q_h_f*1_3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PRESET_TEXT" val="点击添加正文，为了演示发布的效果，请您简单的阐述您的观点"/>
  <p:tag name="KSO_WM_UNIT_TEXT_FILL_FORE_SCHEMECOLOR_INDEX" val="13"/>
  <p:tag name="KSO_WM_UNIT_TEXT_FILL_TYPE" val="1"/>
</p:tagLst>
</file>

<file path=ppt/tags/tag3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3_1"/>
  <p:tag name="KSO_WM_UNIT_ID" val="diagram20169953_2*q_h_i*1_3_1"/>
  <p:tag name="KSO_WM_TEMPLATE_CATEGORY" val="diagram"/>
  <p:tag name="KSO_WM_TEMPLATE_INDEX" val="20169953"/>
  <p:tag name="KSO_WM_UNIT_LAYERLEVEL" val="1_1_1"/>
  <p:tag name="KSO_WM_TAG_VERSION" val="1.0"/>
  <p:tag name="KSO_WM_BEAUTIFY_FLAG" val="#wm#"/>
  <p:tag name="KSO_WM_UNIT_TEXT_FILL_FORE_SCHEMECOLOR_INDEX" val="7"/>
  <p:tag name="KSO_WM_UNIT_TEXT_FILL_TYPE" val="1"/>
</p:tagLst>
</file>

<file path=ppt/tags/tag31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2.xml><?xml version="1.0" encoding="utf-8"?>
<p:tagLst xmlns:p="http://schemas.openxmlformats.org/presentationml/2006/main">
  <p:tag name="KSO_WM_UNIT_TABLE_BEAUTIFY" val="smartTable{7b2e1e28-bdb2-487d-b156-09a20a46e6e9}"/>
  <p:tag name="TABLE_ENDDRAG_ORIGIN_RECT" val="513*284"/>
  <p:tag name="TABLE_ENDDRAG_RECT" val="103*78*513*285"/>
</p:tagLst>
</file>

<file path=ppt/tags/tag33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4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5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6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3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1"/>
  <p:tag name="KSO_WM_UNIT_ID" val="diagram20170323_2*l_i*1_1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3"/>
  <p:tag name="KSO_WM_UNIT_ID" val="diagram20170323_2*l_i*1_3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6"/>
  <p:tag name="KSO_WM_UNIT_ID" val="diagram20170323_2*l_i*1_6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3_3"/>
  <p:tag name="KSO_WM_UNIT_ID" val="diagram20222197_1*q_h_i*1_3_3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FILL_FORE_SCHEMECOLOR_INDEX" val="7"/>
  <p:tag name="KSO_WM_UNIT_FILL_TYPE" val="1"/>
  <p:tag name="KSO_WM_UNIT_TEXT_FILL_FORE_SCHEMECOLOR_INDEX" val="13"/>
  <p:tag name="KSO_WM_UNIT_TEXT_FILL_TYPE" val="1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7"/>
  <p:tag name="KSO_WM_UNIT_ID" val="diagram20170323_2*l_i*1_7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5"/>
  <p:tag name="KSO_WM_UNIT_ID" val="diagram20170323_2*l_i*1_5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8"/>
  <p:tag name="KSO_WM_UNIT_ID" val="diagram20170323_2*l_i*1_8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2"/>
  <p:tag name="KSO_WM_UNIT_ID" val="diagram20170323_2*l_i*1_2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i"/>
  <p:tag name="KSO_WM_UNIT_INDEX" val="1_4"/>
  <p:tag name="KSO_WM_UNIT_ID" val="diagram20170323_2*l_i*1_4"/>
  <p:tag name="KSO_WM_TEMPLATE_CATEGORY" val="diagram"/>
  <p:tag name="KSO_WM_TEMPLATE_INDEX" val="20170323"/>
  <p:tag name="KSO_WM_UNIT_LAYERLEVEL" val="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45.xml><?xml version="1.0" encoding="utf-8"?>
<p:tagLst xmlns:p="http://schemas.openxmlformats.org/presentationml/2006/main">
  <p:tag name="KSO_WM_UNIT_SUBTYPE" val="a"/>
  <p:tag name="KSO_WM_UNIT_PRESET_TEXT" val="单击此处添加文本具体内容，简明扼要地阐述你的观点。"/>
  <p:tag name="KSO_WM_UNIT_NOCLEAR" val="0"/>
  <p:tag name="KSO_WM_UNIT_VALUE" val="45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20170323_2*l_h_f*1_3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3_1"/>
  <p:tag name="KSO_WM_UNIT_ID" val="diagram20170323_2*l_h_i*1_3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4"/>
  <p:tag name="KSO_WM_UNIT_TEXT_FILL_TYPE" val="1"/>
</p:tagLst>
</file>

<file path=ppt/tags/tag47.xml><?xml version="1.0" encoding="utf-8"?>
<p:tagLst xmlns:p="http://schemas.openxmlformats.org/presentationml/2006/main">
  <p:tag name="KSO_WM_UNIT_SUBTYPE" val="a"/>
  <p:tag name="KSO_WM_UNIT_PRESET_TEXT" val="单击此处添加文本具体内容，简明扼要地阐述你的观点。"/>
  <p:tag name="KSO_WM_UNIT_NOCLEAR" val="0"/>
  <p:tag name="KSO_WM_UNIT_VALUE" val="45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20170323_2*l_h_f*1_2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4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2_1"/>
  <p:tag name="KSO_WM_UNIT_ID" val="diagram20170323_2*l_h_i*1_2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</p:tagLst>
</file>

<file path=ppt/tags/tag49.xml><?xml version="1.0" encoding="utf-8"?>
<p:tagLst xmlns:p="http://schemas.openxmlformats.org/presentationml/2006/main">
  <p:tag name="KSO_WM_UNIT_SUBTYPE" val="a"/>
  <p:tag name="KSO_WM_UNIT_PRESET_TEXT" val="单击此处添加文本具体内容，简明扼要地阐述你的观点。"/>
  <p:tag name="KSO_WM_UNIT_NOCLEAR" val="0"/>
  <p:tag name="KSO_WM_UNIT_VALUE" val="45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20170323_2*l_h_f*1_1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2_3"/>
  <p:tag name="KSO_WM_UNIT_ID" val="diagram20222197_1*q_h_i*1_2_3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13"/>
  <p:tag name="KSO_WM_UNIT_TEXT_FILL_TYPE" val="1"/>
</p:tagLst>
</file>

<file path=ppt/tags/tag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SUBTYPE" val="d"/>
  <p:tag name="KSO_WM_UNIT_TYPE" val="l_h_i"/>
  <p:tag name="KSO_WM_UNIT_INDEX" val="1_1_1"/>
  <p:tag name="KSO_WM_UNIT_ID" val="diagram20170323_2*l_h_i*1_1_1"/>
  <p:tag name="KSO_WM_TEMPLATE_CATEGORY" val="diagram"/>
  <p:tag name="KSO_WM_TEMPLATE_INDEX" val="20170323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4"/>
  <p:tag name="KSO_WM_UNIT_TEXT_FILL_TYPE" val="1"/>
</p:tagLst>
</file>

<file path=ppt/tags/tag51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i"/>
  <p:tag name="KSO_WM_UNIT_INDEX" val="1_1"/>
  <p:tag name="KSO_WM_UNIT_ID" val="diagram160195_3*n_i*1_1"/>
  <p:tag name="KSO_WM_TEMPLATE_CATEGORY" val="diagram"/>
  <p:tag name="KSO_WM_TEMPLATE_INDEX" val="160195"/>
  <p:tag name="KSO_WM_UNIT_LAYERLEVEL" val="1_1"/>
  <p:tag name="KSO_WM_TAG_VERSION" val="1.0"/>
  <p:tag name="KSO_WM_BEAUTIFY_FLAG" val="#wm#"/>
  <p:tag name="KSO_WM_UNIT_LINE_FORE_SCHEMECOLOR_INDEX" val="14"/>
  <p:tag name="KSO_WM_UNIT_LINE_FILL_TYPE" val="2"/>
  <p:tag name="KSO_WM_UNIT_TEXT_FILL_FORE_SCHEMECOLOR_INDEX" val="2"/>
  <p:tag name="KSO_WM_UNIT_TEXT_FILL_TYPE" val="1"/>
</p:tagLst>
</file>

<file path=ppt/tags/tag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i"/>
  <p:tag name="KSO_WM_UNIT_INDEX" val="1_2_1"/>
  <p:tag name="KSO_WM_UNIT_ID" val="diagram160195_3*n_h_i*1_2_1"/>
  <p:tag name="KSO_WM_TEMPLATE_CATEGORY" val="diagram"/>
  <p:tag name="KSO_WM_TEMPLATE_INDEX" val="160195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1_1"/>
  <p:tag name="KSO_WM_UNIT_ID" val="diagram160195_3*n_h_h_i*1_1_1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2"/>
  <p:tag name="KSO_WM_UNIT_TEXT_FILL_TYPE" val="1"/>
</p:tagLst>
</file>

<file path=ppt/tags/tag55.xml><?xml version="1.0" encoding="utf-8"?>
<p:tagLst xmlns:p="http://schemas.openxmlformats.org/presentationml/2006/main">
  <p:tag name="KSO_WM_UNIT_VALUE" val="73*7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x"/>
  <p:tag name="KSO_WM_UNIT_INDEX" val="1_1_1_1"/>
  <p:tag name="KSO_WM_UNIT_ID" val="diagram160195_3*n_h_h_x*1_1_1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14"/>
  <p:tag name="KSO_WM_UNIT_FILL_TYPE" val="1"/>
</p:tagLst>
</file>

<file path=ppt/tags/tag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3_1"/>
  <p:tag name="KSO_WM_UNIT_ID" val="diagram160195_3*n_h_h_i*1_1_3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2"/>
  <p:tag name="KSO_WM_UNIT_TEXT_FILL_TYPE" val="1"/>
</p:tagLst>
</file>

<file path=ppt/tags/tag57.xml><?xml version="1.0" encoding="utf-8"?>
<p:tagLst xmlns:p="http://schemas.openxmlformats.org/presentationml/2006/main">
  <p:tag name="KSO_WM_UNIT_VALUE" val="77*64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x"/>
  <p:tag name="KSO_WM_UNIT_INDEX" val="1_1_3_1"/>
  <p:tag name="KSO_WM_UNIT_ID" val="diagram160195_3*n_h_h_x*1_1_3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14"/>
  <p:tag name="KSO_WM_UNIT_FILL_TYPE" val="1"/>
</p:tagLst>
</file>

<file path=ppt/tags/tag58.xml><?xml version="1.0" encoding="utf-8"?>
<p:tagLst xmlns:p="http://schemas.openxmlformats.org/presentationml/2006/main">
  <p:tag name="KSO_WM_UNIT_ISCONTENTSTITLE" val="0"/>
  <p:tag name="KSO_WM_UNIT_PRESET_TEXT" val="单击此处添加标题"/>
  <p:tag name="KSO_WM_UNIT_NOCLEAR" val="0"/>
  <p:tag name="KSO_WM_UNIT_VALUE" val="13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1_1"/>
  <p:tag name="KSO_WM_UNIT_ID" val="diagram160195_3*n_h_h_a*1_1_1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TEXT_FILL_FORE_SCHEMECOLOR_INDEX" val="5"/>
  <p:tag name="KSO_WM_UNIT_TEXT_FILL_TYPE" val="1"/>
</p:tagLst>
</file>

<file path=ppt/tags/tag59.xml><?xml version="1.0" encoding="utf-8"?>
<p:tagLst xmlns:p="http://schemas.openxmlformats.org/presentationml/2006/main">
  <p:tag name="KSO_WM_UNIT_ISCONTENTSTITLE" val="0"/>
  <p:tag name="KSO_WM_UNIT_PRESET_TEXT" val="单击此处添加标题"/>
  <p:tag name="KSO_WM_UNIT_NOCLEAR" val="0"/>
  <p:tag name="KSO_WM_UNIT_VALUE" val="13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3_1"/>
  <p:tag name="KSO_WM_UNIT_ID" val="diagram160195_3*n_h_h_a*1_1_3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TEXT_FILL_FORE_SCHEMECOLOR_INDEX" val="8"/>
  <p:tag name="KSO_WM_UNIT_TEXT_FILL_TYPE" val="1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1_3"/>
  <p:tag name="KSO_WM_UNIT_ID" val="diagram20222197_1*q_h_i*1_1_3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3"/>
  <p:tag name="KSO_WM_UNIT_TEXT_FILL_TYPE" val="1"/>
</p:tagLst>
</file>

<file path=ppt/tags/tag60.xml><?xml version="1.0" encoding="utf-8"?>
<p:tagLst xmlns:p="http://schemas.openxmlformats.org/presentationml/2006/main">
  <p:tag name="KSO_WM_UNIT_ISCONTENTSTITLE" val="0"/>
  <p:tag name="KSO_WM_UNIT_PRESET_TEXT" val="单击此处添加标题"/>
  <p:tag name="KSO_WM_UNIT_NOCLEAR" val="0"/>
  <p:tag name="KSO_WM_UNIT_VALUE" val="18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a"/>
  <p:tag name="KSO_WM_UNIT_INDEX" val="1_2_1"/>
  <p:tag name="KSO_WM_UNIT_ID" val="diagram160195_3*n_h_a*1_2_1"/>
  <p:tag name="KSO_WM_TEMPLATE_CATEGORY" val="diagram"/>
  <p:tag name="KSO_WM_TEMPLATE_INDEX" val="160195"/>
  <p:tag name="KSO_WM_UNIT_LAYERLEVEL" val="1_1_1"/>
  <p:tag name="KSO_WM_TAG_VERSION" val="1.0"/>
  <p:tag name="KSO_WM_BEAUTIFY_FLAG" val="#wm#"/>
  <p:tag name="KSO_WM_UNIT_TEXT_FILL_FORE_SCHEMECOLOR_INDEX" val="14"/>
  <p:tag name="KSO_WM_UNIT_TEXT_FILL_TYPE" val="1"/>
</p:tagLst>
</file>

<file path=ppt/tags/tag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i"/>
  <p:tag name="KSO_WM_UNIT_INDEX" val="1_1_2_1"/>
  <p:tag name="KSO_WM_UNIT_ID" val="diagram160195_3*n_h_h_i*1_1_2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6"/>
  <p:tag name="KSO_WM_UNIT_FILL_TYPE" val="1"/>
  <p:tag name="KSO_WM_UNIT_TEXT_FILL_FORE_SCHEMECOLOR_INDEX" val="2"/>
  <p:tag name="KSO_WM_UNIT_TEXT_FILL_TYPE" val="1"/>
</p:tagLst>
</file>

<file path=ppt/tags/tag62.xml><?xml version="1.0" encoding="utf-8"?>
<p:tagLst xmlns:p="http://schemas.openxmlformats.org/presentationml/2006/main">
  <p:tag name="KSO_WM_UNIT_VALUE" val="63*64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x"/>
  <p:tag name="KSO_WM_UNIT_INDEX" val="1_1_2_1"/>
  <p:tag name="KSO_WM_UNIT_ID" val="diagram160195_3*n_h_h_x*1_1_2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FILL_FORE_SCHEMECOLOR_INDEX" val="14"/>
  <p:tag name="KSO_WM_UNIT_FILL_TYPE" val="1"/>
</p:tagLst>
</file>

<file path=ppt/tags/tag63.xml><?xml version="1.0" encoding="utf-8"?>
<p:tagLst xmlns:p="http://schemas.openxmlformats.org/presentationml/2006/main">
  <p:tag name="KSO_WM_UNIT_ISCONTENTSTITLE" val="0"/>
  <p:tag name="KSO_WM_UNIT_PRESET_TEXT" val="单击此处添加标题"/>
  <p:tag name="KSO_WM_UNIT_NOCLEAR" val="0"/>
  <p:tag name="KSO_WM_UNIT_VALUE" val="13"/>
  <p:tag name="KSO_WM_UNIT_HIGHLIGHT" val="0"/>
  <p:tag name="KSO_WM_UNIT_COMPATIBLE" val="0"/>
  <p:tag name="KSO_WM_UNIT_DIAGRAM_ISNUMVISUAL" val="0"/>
  <p:tag name="KSO_WM_UNIT_DIAGRAM_ISREFERUNIT" val="0"/>
  <p:tag name="KSO_WM_DIAGRAM_GROUP_CODE" val="n1-1"/>
  <p:tag name="KSO_WM_UNIT_TYPE" val="n_h_h_a"/>
  <p:tag name="KSO_WM_UNIT_INDEX" val="1_1_2_1"/>
  <p:tag name="KSO_WM_UNIT_ID" val="diagram160195_3*n_h_h_a*1_1_2_1"/>
  <p:tag name="KSO_WM_TEMPLATE_CATEGORY" val="diagram"/>
  <p:tag name="KSO_WM_TEMPLATE_INDEX" val="160195"/>
  <p:tag name="KSO_WM_UNIT_LAYERLEVEL" val="1_1_1_1"/>
  <p:tag name="KSO_WM_TAG_VERSION" val="1.0"/>
  <p:tag name="KSO_WM_BEAUTIFY_FLAG" val="#wm#"/>
  <p:tag name="KSO_WM_UNIT_TEXT_FILL_FORE_SCHEMECOLOR_INDEX" val="6"/>
  <p:tag name="KSO_WM_UNIT_TEXT_FILL_TYPE" val="1"/>
</p:tagLst>
</file>

<file path=ppt/tags/tag64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65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66.xml><?xml version="1.0" encoding="utf-8"?>
<p:tagLst xmlns:p="http://schemas.openxmlformats.org/presentationml/2006/main">
  <p:tag name="KSO_WM_UNIT_PLACING_PICTURE_USER_VIEWPORT" val="{&quot;height&quot;:3668,&quot;width&quot;:2625}"/>
</p:tagLst>
</file>

<file path=ppt/tags/tag67.xml><?xml version="1.0" encoding="utf-8"?>
<p:tagLst xmlns:p="http://schemas.openxmlformats.org/presentationml/2006/main">
  <p:tag name="KSO_WM_UNIT_TABLE_BEAUTIFY" val="smartTable{9b9bcf7b-db7c-42ca-88bb-f25fbf506070}"/>
  <p:tag name="TABLE_RECT" val="42.5*121.042*635*237.9"/>
  <p:tag name="TABLE_EMPHASIZE_COLOR" val="6579300"/>
  <p:tag name="TABLE_ONEKEY_SKIN_IDX" val="0"/>
  <p:tag name="TABLE_SKINIDX" val="-1"/>
  <p:tag name="TABLE_COLORIDX" val="l"/>
  <p:tag name="TABLE_ENDDRAG_ORIGIN_RECT" val="325*272"/>
  <p:tag name="TABLE_ENDDRAG_RECT" val="40*110*325*272"/>
</p:tagLst>
</file>

<file path=ppt/tags/tag68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69.xml><?xml version="1.0" encoding="utf-8"?>
<p:tagLst xmlns:p="http://schemas.openxmlformats.org/presentationml/2006/main">
  <p:tag name="KSO_WM_UNIT_TABLE_BEAUTIFY" val="smartTable{6a141e1e-be09-46db-886d-b02b3e8ccce9}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TYPE" val="q_h_i"/>
  <p:tag name="KSO_WM_UNIT_INDEX" val="1_4_3"/>
  <p:tag name="KSO_WM_UNIT_ID" val="diagram20222197_1*q_h_i*1_4_3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FILL_FORE_SCHEMECOLOR_INDEX" val="8"/>
  <p:tag name="KSO_WM_UNIT_FILL_TYPE" val="1"/>
  <p:tag name="KSO_WM_UNIT_TEXT_FILL_FORE_SCHEMECOLOR_INDEX" val="13"/>
  <p:tag name="KSO_WM_UNIT_TEXT_FILL_TYPE" val="1"/>
</p:tagLst>
</file>

<file path=ppt/tags/tag70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71.xml><?xml version="1.0" encoding="utf-8"?>
<p:tagLst xmlns:p="http://schemas.openxmlformats.org/presentationml/2006/main">
  <p:tag name="THINKCELLSHAPEDONOTDELETE" val="pEs0ZFlFNik6939OAyqUIfg"/>
</p:tagLst>
</file>

<file path=ppt/tags/tag72.xml><?xml version="1.0" encoding="utf-8"?>
<p:tagLst xmlns:p="http://schemas.openxmlformats.org/presentationml/2006/main">
  <p:tag name="THINKCELLSHAPEDONOTDELETE" val="pEs0ZFlFNik6939OAyqUIfg"/>
</p:tagLst>
</file>

<file path=ppt/tags/tag73.xml><?xml version="1.0" encoding="utf-8"?>
<p:tagLst xmlns:p="http://schemas.openxmlformats.org/presentationml/2006/main">
  <p:tag name="THINKCELLSHAPEDONOTDELETE" val="pEs0ZFlFNik6939OAyqUIfg"/>
</p:tagLst>
</file>

<file path=ppt/tags/tag74.xml><?xml version="1.0" encoding="utf-8"?>
<p:tagLst xmlns:p="http://schemas.openxmlformats.org/presentationml/2006/main">
  <p:tag name="THINKCELLSHAPEDONOTDELETE" val="pEs0ZFlFNik6939OAyqUIfg"/>
</p:tagLst>
</file>

<file path=ppt/tags/tag75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76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77.xml><?xml version="1.0" encoding="utf-8"?>
<p:tagLst xmlns:p="http://schemas.openxmlformats.org/presentationml/2006/main">
  <p:tag name="KSO_WM_UNIT_TABLE_BEAUTIFY" val="smartTable{07880ca1-b387-4509-bfb9-52168fe7d00e}"/>
  <p:tag name="TABLE_ENDDRAG_ORIGIN_RECT" val="573*222"/>
  <p:tag name="TABLE_ENDDRAG_RECT" val="38*111*573*222"/>
</p:tagLst>
</file>

<file path=ppt/tags/tag78.xml><?xml version="1.0" encoding="utf-8"?>
<p:tagLst xmlns:p="http://schemas.openxmlformats.org/presentationml/2006/main">
  <p:tag name="KSO_WM_UNIT_TABLE_BEAUTIFY" val="smartTable{2d28b899-6f2e-4188-85fe-7ce39df7aeed}"/>
  <p:tag name="TABLE_ENDDRAG_ORIGIN_RECT" val="630*310"/>
  <p:tag name="TABLE_ENDDRAG_RECT" val="25*102*630*310"/>
</p:tagLst>
</file>

<file path=ppt/tags/tag79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1_2"/>
  <p:tag name="KSO_WM_UNIT_ID" val="diagram20222197_1*q_h_i*1_1_2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TEXT_FILL_FORE_SCHEMECOLOR_INDEX" val="14"/>
  <p:tag name="KSO_WM_UNIT_TEXT_FILL_TYPE" val="1"/>
</p:tagLst>
</file>

<file path=ppt/tags/tag80.xml><?xml version="1.0" encoding="utf-8"?>
<p:tagLst xmlns:p="http://schemas.openxmlformats.org/presentationml/2006/main">
  <p:tag name="KSO_WM_UNIT_TABLE_BEAUTIFY" val="smartTable{a05e9cf2-4e1b-480d-8cdb-a54c676d3e56}"/>
  <p:tag name="TABLE_ENDDRAG_ORIGIN_RECT" val="581*219"/>
  <p:tag name="TABLE_ENDDRAG_RECT" val="68*127*581*219"/>
</p:tagLst>
</file>

<file path=ppt/tags/tag81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82.xml><?xml version="1.0" encoding="utf-8"?>
<p:tagLst xmlns:p="http://schemas.openxmlformats.org/presentationml/2006/main">
  <p:tag name="KSO_WM_UNIT_TABLE_BEAUTIFY" val="smartTable{b2a4c6da-0b29-4a9d-968c-ee2d1e773936}"/>
  <p:tag name="TABLE_ENDDRAG_ORIGIN_RECT" val="620*94"/>
  <p:tag name="TABLE_ENDDRAG_RECT" val="39*92*620*94"/>
</p:tagLst>
</file>

<file path=ppt/tags/tag83.xml><?xml version="1.0" encoding="utf-8"?>
<p:tagLst xmlns:p="http://schemas.openxmlformats.org/presentationml/2006/main">
  <p:tag name="KSO_WM_UNIT_TABLE_BEAUTIFY" val="smartTable{c32c0ad8-d37b-47e9-b3ea-1bf54c9c8bcd}"/>
  <p:tag name="TABLE_ENDDRAG_ORIGIN_RECT" val="416*183"/>
  <p:tag name="TABLE_ENDDRAG_RECT" val="143*213*416*183"/>
</p:tagLst>
</file>

<file path=ppt/tags/tag84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85.xml><?xml version="1.0" encoding="utf-8"?>
<p:tagLst xmlns:p="http://schemas.openxmlformats.org/presentationml/2006/main">
  <p:tag name="KSO_WM_UNIT_TABLE_BEAUTIFY" val="smartTable{4611c934-b524-45eb-99d6-0efdbad82ae2}"/>
</p:tagLst>
</file>

<file path=ppt/tags/tag86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87.xml><?xml version="1.0" encoding="utf-8"?>
<p:tagLst xmlns:p="http://schemas.openxmlformats.org/presentationml/2006/main">
  <p:tag name="KSO_WM_UNIT_PLACING_PICTURE_USER_VIEWPORT" val="{&quot;height&quot;:2753.688188976378,&quot;width&quot;:3030.588976377953}"/>
</p:tagLst>
</file>

<file path=ppt/tags/tag88.xml><?xml version="1.0" encoding="utf-8"?>
<p:tagLst xmlns:p="http://schemas.openxmlformats.org/presentationml/2006/main">
  <p:tag name="COMMONDATA" val="eyJjb3VudCI6MjAsImhkaWQiOiI3YzI0YjI2ZjYwZmZmM2NlNWFiNzhkN2ZmOTgxYTdmYSIsInVzZXJDb3VudCI6MTd9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q1-1"/>
  <p:tag name="KSO_WM_UNIT_SUBTYPE" val="d"/>
  <p:tag name="KSO_WM_UNIT_TYPE" val="q_h_i"/>
  <p:tag name="KSO_WM_UNIT_INDEX" val="1_2_2"/>
  <p:tag name="KSO_WM_UNIT_ID" val="diagram20222197_1*q_h_i*1_2_2"/>
  <p:tag name="KSO_WM_TEMPLATE_CATEGORY" val="diagram"/>
  <p:tag name="KSO_WM_TEMPLATE_INDEX" val="20222197"/>
  <p:tag name="KSO_WM_UNIT_LAYERLEVEL" val="1_1_1"/>
  <p:tag name="KSO_WM_TAG_VERSION" val="1.0"/>
  <p:tag name="KSO_WM_BEAUTIFY_FLAG" val="#wm#"/>
  <p:tag name="KSO_WM_UNIT_TEXT_FILL_FORE_SCHEMECOLOR_INDEX" val="14"/>
  <p:tag name="KSO_WM_UNIT_TEXT_FILL_TYPE" val="1"/>
</p:tagLst>
</file>

<file path=ppt/theme/theme1.xml><?xml version="1.0" encoding="utf-8"?>
<a:theme xmlns:a="http://schemas.openxmlformats.org/drawingml/2006/main" name="Office 主题​​">
  <a:themeElements>
    <a:clrScheme name="1心选清新淡雅配色">
      <a:dk1>
        <a:sysClr val="windowText" lastClr="000000"/>
      </a:dk1>
      <a:lt1>
        <a:sysClr val="window" lastClr="FFFFFF"/>
      </a:lt1>
      <a:dk2>
        <a:srgbClr val="EEF2F5"/>
      </a:dk2>
      <a:lt2>
        <a:srgbClr val="E7E6E6"/>
      </a:lt2>
      <a:accent1>
        <a:srgbClr val="51688A"/>
      </a:accent1>
      <a:accent2>
        <a:srgbClr val="88B8CC"/>
      </a:accent2>
      <a:accent3>
        <a:srgbClr val="F2E3DE"/>
      </a:accent3>
      <a:accent4>
        <a:srgbClr val="C9DEF1"/>
      </a:accent4>
      <a:accent5>
        <a:srgbClr val="4472C4"/>
      </a:accent5>
      <a:accent6>
        <a:srgbClr val="70AD47"/>
      </a:accent6>
      <a:hlink>
        <a:srgbClr val="000000"/>
      </a:hlink>
      <a:folHlink>
        <a:srgbClr val="954F72"/>
      </a:folHlink>
    </a:clrScheme>
    <a:fontScheme name="汉仪大宋简">
      <a:majorFont>
        <a:latin typeface="华文细黑"/>
        <a:ea typeface="汉仪大宋简"/>
        <a:cs typeface=""/>
      </a:majorFont>
      <a:minorFont>
        <a:latin typeface="Calibri Light"/>
        <a:ea typeface="微软雅黑 Light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30</Words>
  <Application>WPS 演示</Application>
  <PresentationFormat>全屏显示(16:9)</PresentationFormat>
  <Paragraphs>556</Paragraphs>
  <Slides>22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2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45" baseType="lpstr">
      <vt:lpstr>Arial</vt:lpstr>
      <vt:lpstr>宋体</vt:lpstr>
      <vt:lpstr>Wingdings</vt:lpstr>
      <vt:lpstr>汉仪魏碑简</vt:lpstr>
      <vt:lpstr>Times New Roman</vt:lpstr>
      <vt:lpstr>汉仪大宋简</vt:lpstr>
      <vt:lpstr>华文细黑</vt:lpstr>
      <vt:lpstr>微软雅黑</vt:lpstr>
      <vt:lpstr>方正兰亭黑_GBK</vt:lpstr>
      <vt:lpstr>楷体</vt:lpstr>
      <vt:lpstr>Calibri Light</vt:lpstr>
      <vt:lpstr>方正宋刻本秀楷简体</vt:lpstr>
      <vt:lpstr>思源黑体 CN</vt:lpstr>
      <vt:lpstr>Source Han Sans CN</vt:lpstr>
      <vt:lpstr>微软雅黑 Light</vt:lpstr>
      <vt:lpstr>Calibri Light</vt:lpstr>
      <vt:lpstr>Arial Unicode MS</vt:lpstr>
      <vt:lpstr>Calibri</vt:lpstr>
      <vt:lpstr>字魂105号-简雅黑</vt:lpstr>
      <vt:lpstr>黑体</vt:lpstr>
      <vt:lpstr>华文隶书</vt:lpstr>
      <vt:lpstr>等线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哒哒 熊猫</dc:creator>
  <cp:lastModifiedBy>Administrator</cp:lastModifiedBy>
  <cp:revision>502</cp:revision>
  <dcterms:created xsi:type="dcterms:W3CDTF">2020-01-28T04:26:00Z</dcterms:created>
  <dcterms:modified xsi:type="dcterms:W3CDTF">2022-09-07T04:0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358</vt:lpwstr>
  </property>
  <property fmtid="{D5CDD505-2E9C-101B-9397-08002B2CF9AE}" pid="3" name="KSOTemplateUUID">
    <vt:lpwstr>v1.0_mb_CMBKmcI69Hid2MmBqTqP0Q==</vt:lpwstr>
  </property>
  <property fmtid="{D5CDD505-2E9C-101B-9397-08002B2CF9AE}" pid="4" name="ICV">
    <vt:lpwstr>0CA14BEF89E64D9083503ED28E16FBFE</vt:lpwstr>
  </property>
</Properties>
</file>